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50"/>
  </p:notesMasterIdLst>
  <p:sldIdLst>
    <p:sldId id="256" r:id="rId2"/>
    <p:sldId id="399" r:id="rId3"/>
    <p:sldId id="431" r:id="rId4"/>
    <p:sldId id="429" r:id="rId5"/>
    <p:sldId id="434" r:id="rId6"/>
    <p:sldId id="404" r:id="rId7"/>
    <p:sldId id="416" r:id="rId8"/>
    <p:sldId id="419" r:id="rId9"/>
    <p:sldId id="432" r:id="rId10"/>
    <p:sldId id="435" r:id="rId11"/>
    <p:sldId id="403" r:id="rId12"/>
    <p:sldId id="391" r:id="rId13"/>
    <p:sldId id="390" r:id="rId14"/>
    <p:sldId id="392" r:id="rId15"/>
    <p:sldId id="393" r:id="rId16"/>
    <p:sldId id="394" r:id="rId17"/>
    <p:sldId id="395" r:id="rId18"/>
    <p:sldId id="396" r:id="rId19"/>
    <p:sldId id="397" r:id="rId20"/>
    <p:sldId id="398" r:id="rId21"/>
    <p:sldId id="400" r:id="rId22"/>
    <p:sldId id="401" r:id="rId23"/>
    <p:sldId id="436" r:id="rId24"/>
    <p:sldId id="405" r:id="rId25"/>
    <p:sldId id="406" r:id="rId26"/>
    <p:sldId id="407" r:id="rId27"/>
    <p:sldId id="408" r:id="rId28"/>
    <p:sldId id="409" r:id="rId29"/>
    <p:sldId id="410" r:id="rId30"/>
    <p:sldId id="411" r:id="rId31"/>
    <p:sldId id="412" r:id="rId32"/>
    <p:sldId id="413" r:id="rId33"/>
    <p:sldId id="414" r:id="rId34"/>
    <p:sldId id="433" r:id="rId35"/>
    <p:sldId id="417" r:id="rId36"/>
    <p:sldId id="437" r:id="rId37"/>
    <p:sldId id="418" r:id="rId38"/>
    <p:sldId id="439" r:id="rId39"/>
    <p:sldId id="420" r:id="rId40"/>
    <p:sldId id="421" r:id="rId41"/>
    <p:sldId id="422" r:id="rId42"/>
    <p:sldId id="423" r:id="rId43"/>
    <p:sldId id="424" r:id="rId44"/>
    <p:sldId id="425" r:id="rId45"/>
    <p:sldId id="415" r:id="rId46"/>
    <p:sldId id="427" r:id="rId47"/>
    <p:sldId id="438" r:id="rId48"/>
    <p:sldId id="426" r:id="rId49"/>
  </p:sldIdLst>
  <p:sldSz cx="9144000" cy="6858000" type="screen4x3"/>
  <p:notesSz cx="6858000" cy="9144000"/>
  <p:custDataLst>
    <p:tags r:id="rId51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3F9ECE6-84F3-694C-9042-31C8633275AB}">
          <p14:sldIdLst>
            <p14:sldId id="256"/>
            <p14:sldId id="399"/>
            <p14:sldId id="431"/>
            <p14:sldId id="429"/>
            <p14:sldId id="434"/>
            <p14:sldId id="404"/>
            <p14:sldId id="416"/>
            <p14:sldId id="419"/>
            <p14:sldId id="432"/>
            <p14:sldId id="435"/>
            <p14:sldId id="403"/>
            <p14:sldId id="391"/>
            <p14:sldId id="390"/>
            <p14:sldId id="392"/>
            <p14:sldId id="393"/>
            <p14:sldId id="394"/>
            <p14:sldId id="395"/>
            <p14:sldId id="396"/>
            <p14:sldId id="397"/>
            <p14:sldId id="398"/>
            <p14:sldId id="400"/>
            <p14:sldId id="401"/>
            <p14:sldId id="436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33"/>
            <p14:sldId id="417"/>
            <p14:sldId id="437"/>
            <p14:sldId id="418"/>
            <p14:sldId id="439"/>
            <p14:sldId id="420"/>
            <p14:sldId id="421"/>
            <p14:sldId id="422"/>
            <p14:sldId id="423"/>
            <p14:sldId id="424"/>
            <p14:sldId id="425"/>
            <p14:sldId id="415"/>
            <p14:sldId id="427"/>
            <p14:sldId id="438"/>
            <p14:sldId id="4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omenic Bosin" initials="DB" lastIdx="2" clrIdx="6">
    <p:extLst>
      <p:ext uri="{19B8F6BF-5375-455C-9EA6-DF929625EA0E}">
        <p15:presenceInfo xmlns:p15="http://schemas.microsoft.com/office/powerpoint/2012/main" userId="f27d954ac5aa4257" providerId="Windows Live"/>
      </p:ext>
    </p:extLst>
  </p:cmAuthor>
  <p:cmAuthor id="1" name="Gastbenutzer" initials="Ga" lastIdx="3" clrIdx="0"/>
  <p:cmAuthor id="8" name="Philipp Ratz" initials="PR" lastIdx="4" clrIdx="7">
    <p:extLst>
      <p:ext uri="{19B8F6BF-5375-455C-9EA6-DF929625EA0E}">
        <p15:presenceInfo xmlns:p15="http://schemas.microsoft.com/office/powerpoint/2012/main" userId="2cc21629dbc12aa6" providerId="Windows Live"/>
      </p:ext>
    </p:extLst>
  </p:cmAuthor>
  <p:cmAuthor id="2" name="Antonio S." initials="AS" lastIdx="15" clrIdx="1">
    <p:extLst>
      <p:ext uri="{19B8F6BF-5375-455C-9EA6-DF929625EA0E}">
        <p15:presenceInfo xmlns:p15="http://schemas.microsoft.com/office/powerpoint/2012/main" userId="2ffef37bb70309e0" providerId="Windows Live"/>
      </p:ext>
    </p:extLst>
  </p:cmAuthor>
  <p:cmAuthor id="3" name="Marius Möck" initials="MM" lastIdx="9" clrIdx="2">
    <p:extLst>
      <p:ext uri="{19B8F6BF-5375-455C-9EA6-DF929625EA0E}">
        <p15:presenceInfo xmlns:p15="http://schemas.microsoft.com/office/powerpoint/2012/main" userId="2d5fa6978198d51d" providerId="Windows Live"/>
      </p:ext>
    </p:extLst>
  </p:cmAuthor>
  <p:cmAuthor id="4" name="Christoph Witzko" initials="CW" lastIdx="4" clrIdx="3">
    <p:extLst>
      <p:ext uri="{19B8F6BF-5375-455C-9EA6-DF929625EA0E}">
        <p15:presenceInfo xmlns:p15="http://schemas.microsoft.com/office/powerpoint/2012/main" userId="2f3a363482c7f5d6" providerId="Windows Live"/>
      </p:ext>
    </p:extLst>
  </p:cmAuthor>
  <p:cmAuthor id="5" name="Alexander Dittmann" initials="AD" lastIdx="2" clrIdx="4">
    <p:extLst>
      <p:ext uri="{19B8F6BF-5375-455C-9EA6-DF929625EA0E}">
        <p15:presenceInfo xmlns:p15="http://schemas.microsoft.com/office/powerpoint/2012/main" userId="128aedbbde34f6fe" providerId="Windows Live"/>
      </p:ext>
    </p:extLst>
  </p:cmAuthor>
  <p:cmAuthor id="6" name="Sebastian Lienau" initials="SL" lastIdx="5" clrIdx="5">
    <p:extLst>
      <p:ext uri="{19B8F6BF-5375-455C-9EA6-DF929625EA0E}">
        <p15:presenceInfo xmlns:p15="http://schemas.microsoft.com/office/powerpoint/2012/main" userId="91cd32fe213c4f4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A0B1"/>
    <a:srgbClr val="FF0066"/>
    <a:srgbClr val="146683"/>
    <a:srgbClr val="77A7C2"/>
    <a:srgbClr val="96ADBB"/>
    <a:srgbClr val="94ADBD"/>
    <a:srgbClr val="408EB4"/>
    <a:srgbClr val="98AFBF"/>
    <a:srgbClr val="38748F"/>
    <a:srgbClr val="4A95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42D155-9BB4-436A-A613-5309DB331B6A}" v="9" dt="2019-03-09T08:42:42.1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33"/>
    <p:restoredTop sz="85024"/>
  </p:normalViewPr>
  <p:slideViewPr>
    <p:cSldViewPr snapToGrid="0">
      <p:cViewPr varScale="1">
        <p:scale>
          <a:sx n="104" d="100"/>
          <a:sy n="104" d="100"/>
        </p:scale>
        <p:origin x="504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microsoft.com/office/2016/11/relationships/changesInfo" Target="changesInfos/changesInfo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us Möck" userId="2d5fa6978198d51d" providerId="Windows Live" clId="Web-{C17CCA0D-5EA2-462A-AF5F-2F3BEDADD74C}"/>
  </pc:docChgLst>
  <pc:docChgLst>
    <pc:chgData name="Gastbenutzer" providerId="Windows Live" clId="Web-{EB92BA5C-485D-4D85-B3A8-EE5D405ABDC7}"/>
  </pc:docChgLst>
  <pc:docChgLst>
    <pc:chgData name="Christoph Witzko" userId="2f3a363482c7f5d6" providerId="Windows Live" clId="Web-{85E32DF0-9514-4ADF-ABB0-ED1FC8685394}"/>
  </pc:docChgLst>
  <pc:docChgLst>
    <pc:chgData name="Marius Möck" userId="2d5fa6978198d51d" providerId="Windows Live" clId="Web-{BD7ACC88-E577-4FB4-920C-947C4EE688C3}"/>
  </pc:docChgLst>
  <pc:docChgLst>
    <pc:chgData name="Christoph Witzko" userId="2f3a363482c7f5d6" providerId="Windows Live" clId="Web-{491F845B-AF04-47C2-8934-CC6CE41491B9}"/>
  </pc:docChgLst>
  <pc:docChgLst>
    <pc:chgData name="Gastbenutzer" providerId="Windows Live" clId="Web-{1215E1B4-E28C-4E16-B02F-707654E9A632}"/>
  </pc:docChgLst>
  <pc:docChgLst>
    <pc:chgData name="Marius Möck" userId="2d5fa6978198d51d" providerId="Windows Live" clId="Web-{F4557A83-EFAC-49F3-9BF5-624802AEDFC8}"/>
    <pc:docChg chg="addSld modSld modSection">
      <pc:chgData name="Marius Möck" userId="2d5fa6978198d51d" providerId="Windows Live" clId="Web-{F4557A83-EFAC-49F3-9BF5-624802AEDFC8}" dt="2019-01-17T10:30:12.664" v="23" actId="20577"/>
      <pc:docMkLst>
        <pc:docMk/>
      </pc:docMkLst>
    </pc:docChg>
  </pc:docChgLst>
  <pc:docChgLst>
    <pc:chgData name="Marius Möck" userId="2d5fa6978198d51d" providerId="Windows Live" clId="Web-{C32B77F0-EBAD-4D61-8A75-530A895E75AB}"/>
  </pc:docChgLst>
  <pc:docChgLst>
    <pc:chgData name="Sebastian Lienau" userId="91cd32fe213c4f4f" providerId="Windows Live" clId="Web-{8AB22E0F-E665-4965-AD61-AA6BBB24DF82}"/>
    <pc:docChg chg="delSld modSld sldOrd modSection">
      <pc:chgData name="Sebastian Lienau" userId="91cd32fe213c4f4f" providerId="Windows Live" clId="Web-{8AB22E0F-E665-4965-AD61-AA6BBB24DF82}" dt="2019-02-13T16:14:06.730" v="119" actId="14100"/>
      <pc:docMkLst>
        <pc:docMk/>
      </pc:docMkLst>
      <pc:sldChg chg="ord">
        <pc:chgData name="Sebastian Lienau" userId="91cd32fe213c4f4f" providerId="Windows Live" clId="Web-{8AB22E0F-E665-4965-AD61-AA6BBB24DF82}" dt="2019-02-13T15:24:39.640" v="0"/>
        <pc:sldMkLst>
          <pc:docMk/>
          <pc:sldMk cId="3267112402" sldId="329"/>
        </pc:sldMkLst>
      </pc:sldChg>
      <pc:sldChg chg="modSp">
        <pc:chgData name="Sebastian Lienau" userId="91cd32fe213c4f4f" providerId="Windows Live" clId="Web-{8AB22E0F-E665-4965-AD61-AA6BBB24DF82}" dt="2019-02-13T16:14:06.730" v="119" actId="14100"/>
        <pc:sldMkLst>
          <pc:docMk/>
          <pc:sldMk cId="3865210710" sldId="350"/>
        </pc:sldMkLst>
        <pc:spChg chg="mod">
          <ac:chgData name="Sebastian Lienau" userId="91cd32fe213c4f4f" providerId="Windows Live" clId="Web-{8AB22E0F-E665-4965-AD61-AA6BBB24DF82}" dt="2019-02-13T16:14:06.730" v="119" actId="14100"/>
          <ac:spMkLst>
            <pc:docMk/>
            <pc:sldMk cId="3865210710" sldId="350"/>
            <ac:spMk id="8" creationId="{9986EDFC-A9C9-4543-BDB2-99831741B83D}"/>
          </ac:spMkLst>
        </pc:spChg>
      </pc:sldChg>
      <pc:sldChg chg="ord">
        <pc:chgData name="Sebastian Lienau" userId="91cd32fe213c4f4f" providerId="Windows Live" clId="Web-{8AB22E0F-E665-4965-AD61-AA6BBB24DF82}" dt="2019-02-13T15:38:09.103" v="1"/>
        <pc:sldMkLst>
          <pc:docMk/>
          <pc:sldMk cId="3496777796" sldId="359"/>
        </pc:sldMkLst>
      </pc:sldChg>
      <pc:sldChg chg="modSp">
        <pc:chgData name="Sebastian Lienau" userId="91cd32fe213c4f4f" providerId="Windows Live" clId="Web-{8AB22E0F-E665-4965-AD61-AA6BBB24DF82}" dt="2019-02-13T15:43:49.710" v="18" actId="20577"/>
        <pc:sldMkLst>
          <pc:docMk/>
          <pc:sldMk cId="4160555036" sldId="379"/>
        </pc:sldMkLst>
        <pc:spChg chg="mod">
          <ac:chgData name="Sebastian Lienau" userId="91cd32fe213c4f4f" providerId="Windows Live" clId="Web-{8AB22E0F-E665-4965-AD61-AA6BBB24DF82}" dt="2019-02-13T15:43:49.710" v="18" actId="20577"/>
          <ac:spMkLst>
            <pc:docMk/>
            <pc:sldMk cId="4160555036" sldId="379"/>
            <ac:spMk id="3" creationId="{096CD252-F124-4A79-ADCD-AF2D3EDD1643}"/>
          </ac:spMkLst>
        </pc:spChg>
      </pc:sldChg>
      <pc:sldChg chg="modSp">
        <pc:chgData name="Sebastian Lienau" userId="91cd32fe213c4f4f" providerId="Windows Live" clId="Web-{8AB22E0F-E665-4965-AD61-AA6BBB24DF82}" dt="2019-02-13T16:04:55.593" v="40" actId="20577"/>
        <pc:sldMkLst>
          <pc:docMk/>
          <pc:sldMk cId="138107003" sldId="380"/>
        </pc:sldMkLst>
        <pc:spChg chg="mod">
          <ac:chgData name="Sebastian Lienau" userId="91cd32fe213c4f4f" providerId="Windows Live" clId="Web-{8AB22E0F-E665-4965-AD61-AA6BBB24DF82}" dt="2019-02-13T16:04:55.593" v="40" actId="20577"/>
          <ac:spMkLst>
            <pc:docMk/>
            <pc:sldMk cId="138107003" sldId="380"/>
            <ac:spMk id="3" creationId="{096CD252-F124-4A79-ADCD-AF2D3EDD1643}"/>
          </ac:spMkLst>
        </pc:spChg>
      </pc:sldChg>
      <pc:sldChg chg="modSp">
        <pc:chgData name="Sebastian Lienau" userId="91cd32fe213c4f4f" providerId="Windows Live" clId="Web-{8AB22E0F-E665-4965-AD61-AA6BBB24DF82}" dt="2019-02-13T16:05:12.437" v="71" actId="20577"/>
        <pc:sldMkLst>
          <pc:docMk/>
          <pc:sldMk cId="4259837846" sldId="381"/>
        </pc:sldMkLst>
        <pc:spChg chg="mod">
          <ac:chgData name="Sebastian Lienau" userId="91cd32fe213c4f4f" providerId="Windows Live" clId="Web-{8AB22E0F-E665-4965-AD61-AA6BBB24DF82}" dt="2019-02-13T16:05:12.437" v="71" actId="20577"/>
          <ac:spMkLst>
            <pc:docMk/>
            <pc:sldMk cId="4259837846" sldId="381"/>
            <ac:spMk id="3" creationId="{096CD252-F124-4A79-ADCD-AF2D3EDD1643}"/>
          </ac:spMkLst>
        </pc:spChg>
      </pc:sldChg>
      <pc:sldChg chg="modSp">
        <pc:chgData name="Sebastian Lienau" userId="91cd32fe213c4f4f" providerId="Windows Live" clId="Web-{8AB22E0F-E665-4965-AD61-AA6BBB24DF82}" dt="2019-02-13T16:05:20.280" v="93" actId="20577"/>
        <pc:sldMkLst>
          <pc:docMk/>
          <pc:sldMk cId="367030876" sldId="382"/>
        </pc:sldMkLst>
        <pc:spChg chg="mod">
          <ac:chgData name="Sebastian Lienau" userId="91cd32fe213c4f4f" providerId="Windows Live" clId="Web-{8AB22E0F-E665-4965-AD61-AA6BBB24DF82}" dt="2019-02-13T16:05:20.280" v="93" actId="20577"/>
          <ac:spMkLst>
            <pc:docMk/>
            <pc:sldMk cId="367030876" sldId="382"/>
            <ac:spMk id="3" creationId="{096CD252-F124-4A79-ADCD-AF2D3EDD1643}"/>
          </ac:spMkLst>
        </pc:spChg>
      </pc:sldChg>
      <pc:sldChg chg="modSp">
        <pc:chgData name="Sebastian Lienau" userId="91cd32fe213c4f4f" providerId="Windows Live" clId="Web-{8AB22E0F-E665-4965-AD61-AA6BBB24DF82}" dt="2019-02-13T16:05:30.843" v="114" actId="20577"/>
        <pc:sldMkLst>
          <pc:docMk/>
          <pc:sldMk cId="2477990988" sldId="383"/>
        </pc:sldMkLst>
        <pc:spChg chg="mod">
          <ac:chgData name="Sebastian Lienau" userId="91cd32fe213c4f4f" providerId="Windows Live" clId="Web-{8AB22E0F-E665-4965-AD61-AA6BBB24DF82}" dt="2019-02-13T16:05:30.843" v="114" actId="20577"/>
          <ac:spMkLst>
            <pc:docMk/>
            <pc:sldMk cId="2477990988" sldId="383"/>
            <ac:spMk id="3" creationId="{096CD252-F124-4A79-ADCD-AF2D3EDD1643}"/>
          </ac:spMkLst>
        </pc:spChg>
      </pc:sldChg>
    </pc:docChg>
  </pc:docChgLst>
  <pc:docChgLst>
    <pc:chgData name="Gastbenutzer" providerId="Windows Live" clId="Web-{489BD418-1759-4294-B545-BE41DF709705}"/>
  </pc:docChgLst>
  <pc:docChgLst>
    <pc:chgData name="Domenic Bosin" userId="ec2299825f152fcb" providerId="Windows Live" clId="Web-{9D0BA0BC-568F-4E79-BDC8-C691E10B7402}"/>
    <pc:docChg chg="modSld">
      <pc:chgData name="Domenic Bosin" userId="ec2299825f152fcb" providerId="Windows Live" clId="Web-{9D0BA0BC-568F-4E79-BDC8-C691E10B7402}" dt="2019-02-04T12:24:27.417" v="0"/>
      <pc:docMkLst>
        <pc:docMk/>
      </pc:docMkLst>
      <pc:sldChg chg="modSp">
        <pc:chgData name="Domenic Bosin" userId="ec2299825f152fcb" providerId="Windows Live" clId="Web-{9D0BA0BC-568F-4E79-BDC8-C691E10B7402}" dt="2019-02-04T12:24:27.417" v="0"/>
        <pc:sldMkLst>
          <pc:docMk/>
          <pc:sldMk cId="1591283079" sldId="344"/>
        </pc:sldMkLst>
        <pc:picChg chg="mod">
          <ac:chgData name="Domenic Bosin" userId="ec2299825f152fcb" providerId="Windows Live" clId="Web-{9D0BA0BC-568F-4E79-BDC8-C691E10B7402}" dt="2019-02-04T12:24:27.417" v="0"/>
          <ac:picMkLst>
            <pc:docMk/>
            <pc:sldMk cId="1591283079" sldId="344"/>
            <ac:picMk id="40" creationId="{C3F0B61E-3506-4EE3-935D-1E62BF5593F7}"/>
          </ac:picMkLst>
        </pc:picChg>
      </pc:sldChg>
    </pc:docChg>
  </pc:docChgLst>
  <pc:docChgLst>
    <pc:chgData name="Gastbenutzer" providerId="Windows Live" clId="Web-{6EB5E905-2108-4A4D-973D-C655BC671CC6}"/>
    <pc:docChg chg="modSld">
      <pc:chgData name="Gastbenutzer" userId="" providerId="Windows Live" clId="Web-{6EB5E905-2108-4A4D-973D-C655BC671CC6}" dt="2019-03-06T17:57:31.304" v="74"/>
      <pc:docMkLst>
        <pc:docMk/>
      </pc:docMkLst>
      <pc:sldChg chg="addSp delSp modSp">
        <pc:chgData name="Gastbenutzer" userId="" providerId="Windows Live" clId="Web-{6EB5E905-2108-4A4D-973D-C655BC671CC6}" dt="2019-03-06T17:57:31.304" v="74"/>
        <pc:sldMkLst>
          <pc:docMk/>
          <pc:sldMk cId="3637164072" sldId="291"/>
        </pc:sldMkLst>
        <pc:spChg chg="del">
          <ac:chgData name="Gastbenutzer" userId="" providerId="Windows Live" clId="Web-{6EB5E905-2108-4A4D-973D-C655BC671CC6}" dt="2019-03-06T17:57:25.570" v="73"/>
          <ac:spMkLst>
            <pc:docMk/>
            <pc:sldMk cId="3637164072" sldId="291"/>
            <ac:spMk id="2" creationId="{36BD2A4D-406D-4B07-A92B-5CE310A4316A}"/>
          </ac:spMkLst>
        </pc:spChg>
        <pc:spChg chg="del">
          <ac:chgData name="Gastbenutzer" userId="" providerId="Windows Live" clId="Web-{6EB5E905-2108-4A4D-973D-C655BC671CC6}" dt="2019-03-06T17:47:21.505" v="71"/>
          <ac:spMkLst>
            <pc:docMk/>
            <pc:sldMk cId="3637164072" sldId="291"/>
            <ac:spMk id="3" creationId="{5C632A0F-D831-45EC-B37F-00A3D1720BF4}"/>
          </ac:spMkLst>
        </pc:spChg>
        <pc:spChg chg="add del mod">
          <ac:chgData name="Gastbenutzer" userId="" providerId="Windows Live" clId="Web-{6EB5E905-2108-4A4D-973D-C655BC671CC6}" dt="2019-03-06T17:57:31.304" v="74"/>
          <ac:spMkLst>
            <pc:docMk/>
            <pc:sldMk cId="3637164072" sldId="291"/>
            <ac:spMk id="8" creationId="{C2219142-6A0A-435C-A13E-1ECDBA8959A1}"/>
          </ac:spMkLst>
        </pc:spChg>
        <pc:spChg chg="mod">
          <ac:chgData name="Gastbenutzer" userId="" providerId="Windows Live" clId="Web-{6EB5E905-2108-4A4D-973D-C655BC671CC6}" dt="2019-03-06T17:45:46.333" v="44" actId="1076"/>
          <ac:spMkLst>
            <pc:docMk/>
            <pc:sldMk cId="3637164072" sldId="291"/>
            <ac:spMk id="12" creationId="{EF7DF6FA-E507-44A6-B0C1-D0307972D71B}"/>
          </ac:spMkLst>
        </pc:spChg>
        <pc:spChg chg="del">
          <ac:chgData name="Gastbenutzer" userId="" providerId="Windows Live" clId="Web-{6EB5E905-2108-4A4D-973D-C655BC671CC6}" dt="2019-03-06T17:41:13.598" v="0"/>
          <ac:spMkLst>
            <pc:docMk/>
            <pc:sldMk cId="3637164072" sldId="291"/>
            <ac:spMk id="16" creationId="{67855169-A76F-40C7-ABFA-35E29775D7FF}"/>
          </ac:spMkLst>
        </pc:spChg>
        <pc:spChg chg="del">
          <ac:chgData name="Gastbenutzer" userId="" providerId="Windows Live" clId="Web-{6EB5E905-2108-4A4D-973D-C655BC671CC6}" dt="2019-03-06T17:41:37.145" v="3"/>
          <ac:spMkLst>
            <pc:docMk/>
            <pc:sldMk cId="3637164072" sldId="291"/>
            <ac:spMk id="27" creationId="{2FAD1A05-3C5D-284F-B1E7-C0E054152E3C}"/>
          </ac:spMkLst>
        </pc:spChg>
        <pc:spChg chg="add mod">
          <ac:chgData name="Gastbenutzer" userId="" providerId="Windows Live" clId="Web-{6EB5E905-2108-4A4D-973D-C655BC671CC6}" dt="2019-03-06T17:41:42.879" v="4" actId="1076"/>
          <ac:spMkLst>
            <pc:docMk/>
            <pc:sldMk cId="3637164072" sldId="291"/>
            <ac:spMk id="31" creationId="{70EFEDED-90D3-4C18-8DC5-1FE38553F50A}"/>
          </ac:spMkLst>
        </pc:spChg>
        <pc:spChg chg="add del mod">
          <ac:chgData name="Gastbenutzer" userId="" providerId="Windows Live" clId="Web-{6EB5E905-2108-4A4D-973D-C655BC671CC6}" dt="2019-03-06T17:45:03.458" v="26"/>
          <ac:spMkLst>
            <pc:docMk/>
            <pc:sldMk cId="3637164072" sldId="291"/>
            <ac:spMk id="32" creationId="{7D9D7EE4-AB98-496F-AFF8-E210C938161F}"/>
          </ac:spMkLst>
        </pc:spChg>
        <pc:spChg chg="add mod">
          <ac:chgData name="Gastbenutzer" userId="" providerId="Windows Live" clId="Web-{6EB5E905-2108-4A4D-973D-C655BC671CC6}" dt="2019-03-06T17:45:50.552" v="45" actId="1076"/>
          <ac:spMkLst>
            <pc:docMk/>
            <pc:sldMk cId="3637164072" sldId="291"/>
            <ac:spMk id="33" creationId="{4435224A-8C04-41A8-AA72-2DC9F4E7A8E8}"/>
          </ac:spMkLst>
        </pc:spChg>
        <pc:spChg chg="add mod">
          <ac:chgData name="Gastbenutzer" userId="" providerId="Windows Live" clId="Web-{6EB5E905-2108-4A4D-973D-C655BC671CC6}" dt="2019-03-06T17:47:26.146" v="72" actId="1076"/>
          <ac:spMkLst>
            <pc:docMk/>
            <pc:sldMk cId="3637164072" sldId="291"/>
            <ac:spMk id="34" creationId="{08BC5BB4-4D3E-42B6-B76A-F9007709C3A7}"/>
          </ac:spMkLst>
        </pc:spChg>
      </pc:sldChg>
    </pc:docChg>
  </pc:docChgLst>
  <pc:docChgLst>
    <pc:chgData name="Domenic Bosin" userId="ec2299825f152fcb" providerId="Windows Live" clId="Web-{498C7057-48F6-4C1B-845E-B80853438878}"/>
    <pc:docChg chg="modSld">
      <pc:chgData name="Domenic Bosin" userId="ec2299825f152fcb" providerId="Windows Live" clId="Web-{498C7057-48F6-4C1B-845E-B80853438878}" dt="2019-02-04T12:27:05.693" v="7" actId="1076"/>
      <pc:docMkLst>
        <pc:docMk/>
      </pc:docMkLst>
      <pc:sldChg chg="delSp modSp">
        <pc:chgData name="Domenic Bosin" userId="ec2299825f152fcb" providerId="Windows Live" clId="Web-{498C7057-48F6-4C1B-845E-B80853438878}" dt="2019-02-04T12:27:05.693" v="7" actId="1076"/>
        <pc:sldMkLst>
          <pc:docMk/>
          <pc:sldMk cId="1591283079" sldId="344"/>
        </pc:sldMkLst>
        <pc:picChg chg="mod">
          <ac:chgData name="Domenic Bosin" userId="ec2299825f152fcb" providerId="Windows Live" clId="Web-{498C7057-48F6-4C1B-845E-B80853438878}" dt="2019-02-04T12:26:47.443" v="5" actId="1076"/>
          <ac:picMkLst>
            <pc:docMk/>
            <pc:sldMk cId="1591283079" sldId="344"/>
            <ac:picMk id="37" creationId="{956CE874-1359-468A-99AB-B6712EB5C7D3}"/>
          </ac:picMkLst>
        </pc:picChg>
        <pc:picChg chg="del">
          <ac:chgData name="Domenic Bosin" userId="ec2299825f152fcb" providerId="Windows Live" clId="Web-{498C7057-48F6-4C1B-845E-B80853438878}" dt="2019-02-04T12:26:40.443" v="4"/>
          <ac:picMkLst>
            <pc:docMk/>
            <pc:sldMk cId="1591283079" sldId="344"/>
            <ac:picMk id="38" creationId="{25A904F4-A1DC-477B-BC4A-73B94F8E2DA8}"/>
          </ac:picMkLst>
        </pc:picChg>
        <pc:picChg chg="mod">
          <ac:chgData name="Domenic Bosin" userId="ec2299825f152fcb" providerId="Windows Live" clId="Web-{498C7057-48F6-4C1B-845E-B80853438878}" dt="2019-02-04T12:26:34.474" v="2" actId="1076"/>
          <ac:picMkLst>
            <pc:docMk/>
            <pc:sldMk cId="1591283079" sldId="344"/>
            <ac:picMk id="39" creationId="{1303747D-FA44-441D-AD45-71A4305C301D}"/>
          </ac:picMkLst>
        </pc:picChg>
        <pc:picChg chg="mod">
          <ac:chgData name="Domenic Bosin" userId="ec2299825f152fcb" providerId="Windows Live" clId="Web-{498C7057-48F6-4C1B-845E-B80853438878}" dt="2019-02-04T12:27:05.693" v="7" actId="1076"/>
          <ac:picMkLst>
            <pc:docMk/>
            <pc:sldMk cId="1591283079" sldId="344"/>
            <ac:picMk id="40" creationId="{C3F0B61E-3506-4EE3-935D-1E62BF5593F7}"/>
          </ac:picMkLst>
        </pc:picChg>
        <pc:picChg chg="del">
          <ac:chgData name="Domenic Bosin" userId="ec2299825f152fcb" providerId="Windows Live" clId="Web-{498C7057-48F6-4C1B-845E-B80853438878}" dt="2019-02-04T12:26:37.896" v="3"/>
          <ac:picMkLst>
            <pc:docMk/>
            <pc:sldMk cId="1591283079" sldId="344"/>
            <ac:picMk id="41" creationId="{51BD9B8A-8D64-48CC-93B9-B10B072F93EA}"/>
          </ac:picMkLst>
        </pc:picChg>
      </pc:sldChg>
    </pc:docChg>
  </pc:docChgLst>
  <pc:docChgLst>
    <pc:chgData name="Christoph Witzko" userId="2f3a363482c7f5d6" providerId="Windows Live" clId="Web-{FF17BE6C-E9CF-401A-BF4B-D025DDEEB82F}"/>
    <pc:docChg chg="modSld">
      <pc:chgData name="Christoph Witzko" userId="2f3a363482c7f5d6" providerId="Windows Live" clId="Web-{FF17BE6C-E9CF-401A-BF4B-D025DDEEB82F}" dt="2019-02-12T16:54:41.096" v="24"/>
      <pc:docMkLst>
        <pc:docMk/>
      </pc:docMkLst>
      <pc:sldChg chg="modNotes">
        <pc:chgData name="Christoph Witzko" userId="2f3a363482c7f5d6" providerId="Windows Live" clId="Web-{FF17BE6C-E9CF-401A-BF4B-D025DDEEB82F}" dt="2019-02-12T16:41:38.437" v="23"/>
        <pc:sldMkLst>
          <pc:docMk/>
          <pc:sldMk cId="1591283079" sldId="344"/>
        </pc:sldMkLst>
      </pc:sldChg>
      <pc:sldChg chg="modNotes">
        <pc:chgData name="Christoph Witzko" userId="2f3a363482c7f5d6" providerId="Windows Live" clId="Web-{FF17BE6C-E9CF-401A-BF4B-D025DDEEB82F}" dt="2019-02-12T16:54:41.096" v="24"/>
        <pc:sldMkLst>
          <pc:docMk/>
          <pc:sldMk cId="2274450700" sldId="356"/>
        </pc:sldMkLst>
      </pc:sldChg>
    </pc:docChg>
  </pc:docChgLst>
  <pc:docChgLst>
    <pc:chgData name="Antonio S." userId="2ffef37bb70309e0" providerId="Windows Live" clId="Web-{3D2C2B8E-2A1D-409D-93C4-EE295F7EF0EF}"/>
  </pc:docChgLst>
  <pc:docChgLst>
    <pc:chgData name="Marius Möck" userId="2d5fa6978198d51d" providerId="Windows Live" clId="Web-{CF0499CB-8F69-4B2E-8B36-9F7303BBFF80}"/>
  </pc:docChgLst>
  <pc:docChgLst>
    <pc:chgData name="Marius Möck" userId="2d5fa6978198d51d" providerId="LiveId" clId="{3EE0F6B2-6E86-482F-B597-4D44AFE6C003}"/>
  </pc:docChgLst>
  <pc:docChgLst>
    <pc:chgData name="Marius Möck" userId="2d5fa6978198d51d" providerId="Windows Live" clId="Web-{69CF2ABA-55F9-4100-9BD6-6D3450CFFACC}"/>
  </pc:docChgLst>
  <pc:docChgLst>
    <pc:chgData name="Antonio S." userId="2ffef37bb70309e0" providerId="LiveId" clId="{E0FDC176-2D13-4BAC-9365-99C6B884DBC2}"/>
  </pc:docChgLst>
  <pc:docChgLst>
    <pc:chgData name="Marius Möck" userId="2d5fa6978198d51d" providerId="LiveId" clId="{52BEA8C9-68E1-4CE3-BDAE-F1CD0623FFF6}"/>
    <pc:docChg chg="undo custSel addSld delSld modSld sldOrd modSection">
      <pc:chgData name="Marius Möck" userId="2d5fa6978198d51d" providerId="LiveId" clId="{52BEA8C9-68E1-4CE3-BDAE-F1CD0623FFF6}" dt="2019-02-14T11:48:24.915" v="3392"/>
      <pc:docMkLst>
        <pc:docMk/>
      </pc:docMkLst>
      <pc:sldChg chg="addSp delSp modSp add ord">
        <pc:chgData name="Marius Möck" userId="2d5fa6978198d51d" providerId="LiveId" clId="{52BEA8C9-68E1-4CE3-BDAE-F1CD0623FFF6}" dt="2019-02-04T12:57:20.882" v="1405"/>
        <pc:sldMkLst>
          <pc:docMk/>
          <pc:sldMk cId="876844754" sldId="261"/>
        </pc:sldMkLst>
        <pc:spChg chg="mod">
          <ac:chgData name="Marius Möck" userId="2d5fa6978198d51d" providerId="LiveId" clId="{52BEA8C9-68E1-4CE3-BDAE-F1CD0623FFF6}" dt="2019-02-03T12:07:02.110" v="1222" actId="20577"/>
          <ac:spMkLst>
            <pc:docMk/>
            <pc:sldMk cId="876844754" sldId="261"/>
            <ac:spMk id="2" creationId="{C7A90897-8F34-4DEF-BF4D-9AF3BC82A417}"/>
          </ac:spMkLst>
        </pc:spChg>
        <pc:graphicFrameChg chg="mod">
          <ac:chgData name="Marius Möck" userId="2d5fa6978198d51d" providerId="LiveId" clId="{52BEA8C9-68E1-4CE3-BDAE-F1CD0623FFF6}" dt="2019-02-03T12:08:14.964" v="1273" actId="12100"/>
          <ac:graphicFrameMkLst>
            <pc:docMk/>
            <pc:sldMk cId="876844754" sldId="261"/>
            <ac:graphicFrameMk id="4" creationId="{2F01F9AF-C6E8-478A-A715-854140B0AC24}"/>
          </ac:graphicFrameMkLst>
        </pc:graphicFrameChg>
        <pc:inkChg chg="add del">
          <ac:chgData name="Marius Möck" userId="2d5fa6978198d51d" providerId="LiveId" clId="{52BEA8C9-68E1-4CE3-BDAE-F1CD0623FFF6}" dt="2019-02-04T12:13:21.028" v="1283"/>
          <ac:inkMkLst>
            <pc:docMk/>
            <pc:sldMk cId="876844754" sldId="261"/>
            <ac:inkMk id="6" creationId="{D5287CA3-AC62-4531-A7A8-8A1FC7D44F33}"/>
          </ac:inkMkLst>
        </pc:inkChg>
        <pc:inkChg chg="add del">
          <ac:chgData name="Marius Möck" userId="2d5fa6978198d51d" providerId="LiveId" clId="{52BEA8C9-68E1-4CE3-BDAE-F1CD0623FFF6}" dt="2019-02-04T12:13:21.028" v="1283"/>
          <ac:inkMkLst>
            <pc:docMk/>
            <pc:sldMk cId="876844754" sldId="261"/>
            <ac:inkMk id="7" creationId="{200E3282-BE47-4D8F-831B-905C46162BF5}"/>
          </ac:inkMkLst>
        </pc:inkChg>
        <pc:inkChg chg="add del">
          <ac:chgData name="Marius Möck" userId="2d5fa6978198d51d" providerId="LiveId" clId="{52BEA8C9-68E1-4CE3-BDAE-F1CD0623FFF6}" dt="2019-02-04T12:13:21.028" v="1283"/>
          <ac:inkMkLst>
            <pc:docMk/>
            <pc:sldMk cId="876844754" sldId="261"/>
            <ac:inkMk id="8" creationId="{DA52A9C3-18B3-4AA2-BD4E-4C7009EC75B5}"/>
          </ac:inkMkLst>
        </pc:inkChg>
        <pc:inkChg chg="add del">
          <ac:chgData name="Marius Möck" userId="2d5fa6978198d51d" providerId="LiveId" clId="{52BEA8C9-68E1-4CE3-BDAE-F1CD0623FFF6}" dt="2019-02-04T12:13:21.028" v="1283"/>
          <ac:inkMkLst>
            <pc:docMk/>
            <pc:sldMk cId="876844754" sldId="261"/>
            <ac:inkMk id="9" creationId="{89F11D59-AEB5-4A9D-9D0C-231BE1552759}"/>
          </ac:inkMkLst>
        </pc:inkChg>
        <pc:inkChg chg="add del">
          <ac:chgData name="Marius Möck" userId="2d5fa6978198d51d" providerId="LiveId" clId="{52BEA8C9-68E1-4CE3-BDAE-F1CD0623FFF6}" dt="2019-02-04T12:13:24.923" v="1284"/>
          <ac:inkMkLst>
            <pc:docMk/>
            <pc:sldMk cId="876844754" sldId="261"/>
            <ac:inkMk id="10" creationId="{16BEE2C5-5547-479B-A10A-CFF621002DFE}"/>
          </ac:inkMkLst>
        </pc:inkChg>
        <pc:inkChg chg="add del">
          <ac:chgData name="Marius Möck" userId="2d5fa6978198d51d" providerId="LiveId" clId="{52BEA8C9-68E1-4CE3-BDAE-F1CD0623FFF6}" dt="2019-02-04T12:13:29.381" v="1286"/>
          <ac:inkMkLst>
            <pc:docMk/>
            <pc:sldMk cId="876844754" sldId="261"/>
            <ac:inkMk id="11" creationId="{3DCD1E82-29A8-4F1D-8B9C-5EC93539C77C}"/>
          </ac:inkMkLst>
        </pc:inkChg>
      </pc:sldChg>
      <pc:sldChg chg="modSp add ord">
        <pc:chgData name="Marius Möck" userId="2d5fa6978198d51d" providerId="LiveId" clId="{52BEA8C9-68E1-4CE3-BDAE-F1CD0623FFF6}" dt="2019-02-04T12:57:20.882" v="1405"/>
        <pc:sldMkLst>
          <pc:docMk/>
          <pc:sldMk cId="3991318503" sldId="262"/>
        </pc:sldMkLst>
        <pc:spChg chg="mod">
          <ac:chgData name="Marius Möck" userId="2d5fa6978198d51d" providerId="LiveId" clId="{52BEA8C9-68E1-4CE3-BDAE-F1CD0623FFF6}" dt="2019-02-03T12:07:31.992" v="1272" actId="20577"/>
          <ac:spMkLst>
            <pc:docMk/>
            <pc:sldMk cId="3991318503" sldId="262"/>
            <ac:spMk id="2" creationId="{C7A90897-8F34-4DEF-BF4D-9AF3BC82A417}"/>
          </ac:spMkLst>
        </pc:spChg>
        <pc:graphicFrameChg chg="mod">
          <ac:chgData name="Marius Möck" userId="2d5fa6978198d51d" providerId="LiveId" clId="{52BEA8C9-68E1-4CE3-BDAE-F1CD0623FFF6}" dt="2019-02-03T12:08:30.138" v="1274" actId="12100"/>
          <ac:graphicFrameMkLst>
            <pc:docMk/>
            <pc:sldMk cId="3991318503" sldId="262"/>
            <ac:graphicFrameMk id="4" creationId="{2F01F9AF-C6E8-478A-A715-854140B0AC24}"/>
          </ac:graphicFrameMkLst>
        </pc:graphicFrameChg>
      </pc:sldChg>
      <pc:sldChg chg="modSp ord">
        <pc:chgData name="Marius Möck" userId="2d5fa6978198d51d" providerId="LiveId" clId="{52BEA8C9-68E1-4CE3-BDAE-F1CD0623FFF6}" dt="2019-02-07T10:50:11.394" v="1853" actId="20577"/>
        <pc:sldMkLst>
          <pc:docMk/>
          <pc:sldMk cId="111630377" sldId="270"/>
        </pc:sldMkLst>
        <pc:spChg chg="mod">
          <ac:chgData name="Marius Möck" userId="2d5fa6978198d51d" providerId="LiveId" clId="{52BEA8C9-68E1-4CE3-BDAE-F1CD0623FFF6}" dt="2019-02-07T10:50:11.394" v="1853" actId="20577"/>
          <ac:spMkLst>
            <pc:docMk/>
            <pc:sldMk cId="111630377" sldId="270"/>
            <ac:spMk id="2" creationId="{5FC2A887-D8F4-4791-81B0-9AA284C5C888}"/>
          </ac:spMkLst>
        </pc:spChg>
      </pc:sldChg>
      <pc:sldChg chg="ord">
        <pc:chgData name="Marius Möck" userId="2d5fa6978198d51d" providerId="LiveId" clId="{52BEA8C9-68E1-4CE3-BDAE-F1CD0623FFF6}" dt="2019-02-14T11:44:06.556" v="3378"/>
        <pc:sldMkLst>
          <pc:docMk/>
          <pc:sldMk cId="4215423451" sldId="275"/>
        </pc:sldMkLst>
      </pc:sldChg>
      <pc:sldChg chg="modSp ord">
        <pc:chgData name="Marius Möck" userId="2d5fa6978198d51d" providerId="LiveId" clId="{52BEA8C9-68E1-4CE3-BDAE-F1CD0623FFF6}" dt="2019-02-14T11:13:52.273" v="3274" actId="1582"/>
        <pc:sldMkLst>
          <pc:docMk/>
          <pc:sldMk cId="2913239789" sldId="319"/>
        </pc:sldMkLst>
        <pc:cxnChg chg="mod">
          <ac:chgData name="Marius Möck" userId="2d5fa6978198d51d" providerId="LiveId" clId="{52BEA8C9-68E1-4CE3-BDAE-F1CD0623FFF6}" dt="2019-02-14T11:13:52.273" v="3274" actId="1582"/>
          <ac:cxnSpMkLst>
            <pc:docMk/>
            <pc:sldMk cId="2913239789" sldId="319"/>
            <ac:cxnSpMk id="229" creationId="{B6610008-CE90-4C20-836B-0C52732AA37C}"/>
          </ac:cxnSpMkLst>
        </pc:cxnChg>
      </pc:sldChg>
      <pc:sldChg chg="add">
        <pc:chgData name="Marius Möck" userId="2d5fa6978198d51d" providerId="LiveId" clId="{52BEA8C9-68E1-4CE3-BDAE-F1CD0623FFF6}" dt="2019-02-14T11:48:24.915" v="3392"/>
        <pc:sldMkLst>
          <pc:docMk/>
          <pc:sldMk cId="3268323527" sldId="328"/>
        </pc:sldMkLst>
      </pc:sldChg>
      <pc:sldChg chg="addSp delSp modSp ord addCm modCm">
        <pc:chgData name="Marius Möck" userId="2d5fa6978198d51d" providerId="LiveId" clId="{52BEA8C9-68E1-4CE3-BDAE-F1CD0623FFF6}" dt="2019-02-14T10:37:06.456" v="3271"/>
        <pc:sldMkLst>
          <pc:docMk/>
          <pc:sldMk cId="3267112402" sldId="329"/>
        </pc:sldMkLst>
        <pc:spChg chg="mod">
          <ac:chgData name="Marius Möck" userId="2d5fa6978198d51d" providerId="LiveId" clId="{52BEA8C9-68E1-4CE3-BDAE-F1CD0623FFF6}" dt="2019-02-11T11:45:22.800" v="2759" actId="113"/>
          <ac:spMkLst>
            <pc:docMk/>
            <pc:sldMk cId="3267112402" sldId="329"/>
            <ac:spMk id="3" creationId="{71E56A8F-F25F-4770-9E7F-4AFA7E8C3B46}"/>
          </ac:spMkLst>
        </pc:spChg>
        <pc:spChg chg="add del">
          <ac:chgData name="Marius Möck" userId="2d5fa6978198d51d" providerId="LiveId" clId="{52BEA8C9-68E1-4CE3-BDAE-F1CD0623FFF6}" dt="2019-02-11T10:54:49.055" v="2364" actId="478"/>
          <ac:spMkLst>
            <pc:docMk/>
            <pc:sldMk cId="3267112402" sldId="329"/>
            <ac:spMk id="4" creationId="{9BACDB30-3834-4A06-BDBA-A836803E3900}"/>
          </ac:spMkLst>
        </pc:spChg>
        <pc:spChg chg="mod">
          <ac:chgData name="Marius Möck" userId="2d5fa6978198d51d" providerId="LiveId" clId="{52BEA8C9-68E1-4CE3-BDAE-F1CD0623FFF6}" dt="2019-02-11T11:41:55.902" v="2701" actId="1076"/>
          <ac:spMkLst>
            <pc:docMk/>
            <pc:sldMk cId="3267112402" sldId="329"/>
            <ac:spMk id="7" creationId="{2C25BFD4-716E-4C88-873B-4A6CDB1C7E0D}"/>
          </ac:spMkLst>
        </pc:spChg>
        <pc:spChg chg="mod">
          <ac:chgData name="Marius Möck" userId="2d5fa6978198d51d" providerId="LiveId" clId="{52BEA8C9-68E1-4CE3-BDAE-F1CD0623FFF6}" dt="2019-02-11T11:43:05.660" v="2727" actId="1038"/>
          <ac:spMkLst>
            <pc:docMk/>
            <pc:sldMk cId="3267112402" sldId="329"/>
            <ac:spMk id="8" creationId="{947E2EF0-F986-4CA9-A29B-6DA1E9C192BF}"/>
          </ac:spMkLst>
        </pc:spChg>
        <pc:spChg chg="mod">
          <ac:chgData name="Marius Möck" userId="2d5fa6978198d51d" providerId="LiveId" clId="{52BEA8C9-68E1-4CE3-BDAE-F1CD0623FFF6}" dt="2019-02-11T11:44:37.897" v="2748" actId="1076"/>
          <ac:spMkLst>
            <pc:docMk/>
            <pc:sldMk cId="3267112402" sldId="329"/>
            <ac:spMk id="9" creationId="{7B666313-F7F3-4C65-9809-B2E05D36B336}"/>
          </ac:spMkLst>
        </pc:spChg>
        <pc:spChg chg="mod">
          <ac:chgData name="Marius Möck" userId="2d5fa6978198d51d" providerId="LiveId" clId="{52BEA8C9-68E1-4CE3-BDAE-F1CD0623FFF6}" dt="2019-02-11T11:42:53.463" v="2723" actId="113"/>
          <ac:spMkLst>
            <pc:docMk/>
            <pc:sldMk cId="3267112402" sldId="329"/>
            <ac:spMk id="12" creationId="{11477FC5-D250-4716-BC81-B39128E8B014}"/>
          </ac:spMkLst>
        </pc:spChg>
        <pc:spChg chg="mod">
          <ac:chgData name="Marius Möck" userId="2d5fa6978198d51d" providerId="LiveId" clId="{52BEA8C9-68E1-4CE3-BDAE-F1CD0623FFF6}" dt="2019-02-11T11:44:56.738" v="2751" actId="1076"/>
          <ac:spMkLst>
            <pc:docMk/>
            <pc:sldMk cId="3267112402" sldId="329"/>
            <ac:spMk id="13" creationId="{3DDFDDE2-4F14-4751-8FF2-BD7B8FC2C5AA}"/>
          </ac:spMkLst>
        </pc:spChg>
        <pc:spChg chg="mod">
          <ac:chgData name="Marius Möck" userId="2d5fa6978198d51d" providerId="LiveId" clId="{52BEA8C9-68E1-4CE3-BDAE-F1CD0623FFF6}" dt="2019-02-11T11:45:03.417" v="2753" actId="14100"/>
          <ac:spMkLst>
            <pc:docMk/>
            <pc:sldMk cId="3267112402" sldId="329"/>
            <ac:spMk id="14" creationId="{33D4A675-4D03-471F-9EF6-27E691092FEB}"/>
          </ac:spMkLst>
        </pc:spChg>
        <pc:spChg chg="mod">
          <ac:chgData name="Marius Möck" userId="2d5fa6978198d51d" providerId="LiveId" clId="{52BEA8C9-68E1-4CE3-BDAE-F1CD0623FFF6}" dt="2019-02-11T11:45:11.608" v="2756" actId="14100"/>
          <ac:spMkLst>
            <pc:docMk/>
            <pc:sldMk cId="3267112402" sldId="329"/>
            <ac:spMk id="15" creationId="{7B78F53F-6504-4607-B7DF-92A834CC5FC9}"/>
          </ac:spMkLst>
        </pc:spChg>
        <pc:spChg chg="mod">
          <ac:chgData name="Marius Möck" userId="2d5fa6978198d51d" providerId="LiveId" clId="{52BEA8C9-68E1-4CE3-BDAE-F1CD0623FFF6}" dt="2019-02-11T11:45:20.950" v="2758" actId="1076"/>
          <ac:spMkLst>
            <pc:docMk/>
            <pc:sldMk cId="3267112402" sldId="329"/>
            <ac:spMk id="18" creationId="{B803D365-4E69-4DC3-BAAD-C21F0A2DA69F}"/>
          </ac:spMkLst>
        </pc:spChg>
        <pc:spChg chg="add del mod">
          <ac:chgData name="Marius Möck" userId="2d5fa6978198d51d" providerId="LiveId" clId="{52BEA8C9-68E1-4CE3-BDAE-F1CD0623FFF6}" dt="2019-02-11T11:34:07.692" v="2492" actId="478"/>
          <ac:spMkLst>
            <pc:docMk/>
            <pc:sldMk cId="3267112402" sldId="329"/>
            <ac:spMk id="22" creationId="{679C7765-CC20-4D44-B4DF-DD1EFF0407E5}"/>
          </ac:spMkLst>
        </pc:spChg>
        <pc:spChg chg="add mod">
          <ac:chgData name="Marius Möck" userId="2d5fa6978198d51d" providerId="LiveId" clId="{52BEA8C9-68E1-4CE3-BDAE-F1CD0623FFF6}" dt="2019-02-11T11:40:38.192" v="2690" actId="1076"/>
          <ac:spMkLst>
            <pc:docMk/>
            <pc:sldMk cId="3267112402" sldId="329"/>
            <ac:spMk id="32" creationId="{2C7B006E-3862-45DF-BD55-DFD0ADA37FB5}"/>
          </ac:spMkLst>
        </pc:spChg>
        <pc:spChg chg="add del mod">
          <ac:chgData name="Marius Möck" userId="2d5fa6978198d51d" providerId="LiveId" clId="{52BEA8C9-68E1-4CE3-BDAE-F1CD0623FFF6}" dt="2019-02-11T11:42:25.002" v="2707" actId="478"/>
          <ac:spMkLst>
            <pc:docMk/>
            <pc:sldMk cId="3267112402" sldId="329"/>
            <ac:spMk id="34" creationId="{49E5617C-9063-4A16-A03C-FECE1B9E82C4}"/>
          </ac:spMkLst>
        </pc:spChg>
        <pc:picChg chg="mod">
          <ac:chgData name="Marius Möck" userId="2d5fa6978198d51d" providerId="LiveId" clId="{52BEA8C9-68E1-4CE3-BDAE-F1CD0623FFF6}" dt="2019-02-11T11:41:33.566" v="2697" actId="1076"/>
          <ac:picMkLst>
            <pc:docMk/>
            <pc:sldMk cId="3267112402" sldId="329"/>
            <ac:picMk id="23" creationId="{24042CB2-3BC3-4535-9BF1-DA489B1EFA75}"/>
          </ac:picMkLst>
        </pc:picChg>
        <pc:picChg chg="add mod">
          <ac:chgData name="Marius Möck" userId="2d5fa6978198d51d" providerId="LiveId" clId="{52BEA8C9-68E1-4CE3-BDAE-F1CD0623FFF6}" dt="2019-02-11T11:40:08.356" v="2660" actId="1038"/>
          <ac:picMkLst>
            <pc:docMk/>
            <pc:sldMk cId="3267112402" sldId="329"/>
            <ac:picMk id="31" creationId="{8A09F340-9E93-4DD4-9654-1B7EDDCD2218}"/>
          </ac:picMkLst>
        </pc:picChg>
        <pc:cxnChg chg="add mod">
          <ac:chgData name="Marius Möck" userId="2d5fa6978198d51d" providerId="LiveId" clId="{52BEA8C9-68E1-4CE3-BDAE-F1CD0623FFF6}" dt="2019-02-11T11:41:33.566" v="2697" actId="1076"/>
          <ac:cxnSpMkLst>
            <pc:docMk/>
            <pc:sldMk cId="3267112402" sldId="329"/>
            <ac:cxnSpMk id="20" creationId="{C7BC6B43-746F-4E39-8CAD-33553BFF8C62}"/>
          </ac:cxnSpMkLst>
        </pc:cxnChg>
      </pc:sldChg>
      <pc:sldChg chg="modSp">
        <pc:chgData name="Marius Möck" userId="2d5fa6978198d51d" providerId="LiveId" clId="{52BEA8C9-68E1-4CE3-BDAE-F1CD0623FFF6}" dt="2019-02-14T11:47:28.549" v="3388" actId="1035"/>
        <pc:sldMkLst>
          <pc:docMk/>
          <pc:sldMk cId="2583808906" sldId="333"/>
        </pc:sldMkLst>
        <pc:spChg chg="mod">
          <ac:chgData name="Marius Möck" userId="2d5fa6978198d51d" providerId="LiveId" clId="{52BEA8C9-68E1-4CE3-BDAE-F1CD0623FFF6}" dt="2019-02-14T11:47:24.904" v="3384" actId="1035"/>
          <ac:spMkLst>
            <pc:docMk/>
            <pc:sldMk cId="2583808906" sldId="333"/>
            <ac:spMk id="78" creationId="{322DA2F2-7EA3-4EA6-9F98-73EDC51BAEA1}"/>
          </ac:spMkLst>
        </pc:spChg>
        <pc:spChg chg="mod">
          <ac:chgData name="Marius Möck" userId="2d5fa6978198d51d" providerId="LiveId" clId="{52BEA8C9-68E1-4CE3-BDAE-F1CD0623FFF6}" dt="2019-02-14T11:47:28.549" v="3388" actId="1035"/>
          <ac:spMkLst>
            <pc:docMk/>
            <pc:sldMk cId="2583808906" sldId="333"/>
            <ac:spMk id="80" creationId="{5234676F-7C5B-42B7-A969-3AA35C22410C}"/>
          </ac:spMkLst>
        </pc:spChg>
        <pc:spChg chg="mod">
          <ac:chgData name="Marius Möck" userId="2d5fa6978198d51d" providerId="LiveId" clId="{52BEA8C9-68E1-4CE3-BDAE-F1CD0623FFF6}" dt="2019-02-14T11:47:06.703" v="3381" actId="1035"/>
          <ac:spMkLst>
            <pc:docMk/>
            <pc:sldMk cId="2583808906" sldId="333"/>
            <ac:spMk id="82" creationId="{DD43FD41-EDA0-4AA3-AC86-F4043ED8B55D}"/>
          </ac:spMkLst>
        </pc:spChg>
        <pc:spChg chg="mod">
          <ac:chgData name="Marius Möck" userId="2d5fa6978198d51d" providerId="LiveId" clId="{52BEA8C9-68E1-4CE3-BDAE-F1CD0623FFF6}" dt="2019-02-14T11:47:06.703" v="3381" actId="1035"/>
          <ac:spMkLst>
            <pc:docMk/>
            <pc:sldMk cId="2583808906" sldId="333"/>
            <ac:spMk id="83" creationId="{17EA2231-AA73-485C-816C-3B6FEFF9C9DD}"/>
          </ac:spMkLst>
        </pc:spChg>
      </pc:sldChg>
      <pc:sldChg chg="modSp ord">
        <pc:chgData name="Marius Möck" userId="2d5fa6978198d51d" providerId="LiveId" clId="{52BEA8C9-68E1-4CE3-BDAE-F1CD0623FFF6}" dt="2019-02-14T11:20:43.474" v="3321"/>
        <pc:sldMkLst>
          <pc:docMk/>
          <pc:sldMk cId="1591283079" sldId="344"/>
        </pc:sldMkLst>
        <pc:spChg chg="mod">
          <ac:chgData name="Marius Möck" userId="2d5fa6978198d51d" providerId="LiveId" clId="{52BEA8C9-68E1-4CE3-BDAE-F1CD0623FFF6}" dt="2019-02-07T10:02:16.877" v="1726" actId="20577"/>
          <ac:spMkLst>
            <pc:docMk/>
            <pc:sldMk cId="1591283079" sldId="344"/>
            <ac:spMk id="23" creationId="{5D28115B-67FD-426E-98C7-6C501EC5C275}"/>
          </ac:spMkLst>
        </pc:spChg>
        <pc:spChg chg="mod">
          <ac:chgData name="Marius Möck" userId="2d5fa6978198d51d" providerId="LiveId" clId="{52BEA8C9-68E1-4CE3-BDAE-F1CD0623FFF6}" dt="2019-02-07T10:01:41.663" v="1720" actId="1038"/>
          <ac:spMkLst>
            <pc:docMk/>
            <pc:sldMk cId="1591283079" sldId="344"/>
            <ac:spMk id="31" creationId="{7A5BEFDA-3455-489F-BACE-00C0A435D840}"/>
          </ac:spMkLst>
        </pc:spChg>
        <pc:spChg chg="mod">
          <ac:chgData name="Marius Möck" userId="2d5fa6978198d51d" providerId="LiveId" clId="{52BEA8C9-68E1-4CE3-BDAE-F1CD0623FFF6}" dt="2019-02-07T10:04:23.010" v="1731" actId="122"/>
          <ac:spMkLst>
            <pc:docMk/>
            <pc:sldMk cId="1591283079" sldId="344"/>
            <ac:spMk id="34" creationId="{533045B1-7E20-4968-97D6-18A80D51074D}"/>
          </ac:spMkLst>
        </pc:spChg>
        <pc:spChg chg="mod">
          <ac:chgData name="Marius Möck" userId="2d5fa6978198d51d" providerId="LiveId" clId="{52BEA8C9-68E1-4CE3-BDAE-F1CD0623FFF6}" dt="2019-02-07T10:01:27.525" v="1709" actId="255"/>
          <ac:spMkLst>
            <pc:docMk/>
            <pc:sldMk cId="1591283079" sldId="344"/>
            <ac:spMk id="36" creationId="{26F6D9C2-CCA5-4C4C-870C-D3A2B9CAFABC}"/>
          </ac:spMkLst>
        </pc:spChg>
        <pc:spChg chg="mod">
          <ac:chgData name="Marius Möck" userId="2d5fa6978198d51d" providerId="LiveId" clId="{52BEA8C9-68E1-4CE3-BDAE-F1CD0623FFF6}" dt="2019-02-07T10:04:06.069" v="1727" actId="20577"/>
          <ac:spMkLst>
            <pc:docMk/>
            <pc:sldMk cId="1591283079" sldId="344"/>
            <ac:spMk id="47" creationId="{CD044DE1-CCED-481C-AEBE-08C445BD4587}"/>
          </ac:spMkLst>
        </pc:spChg>
      </pc:sldChg>
      <pc:sldChg chg="addSp delSp modSp add">
        <pc:chgData name="Marius Möck" userId="2d5fa6978198d51d" providerId="LiveId" clId="{52BEA8C9-68E1-4CE3-BDAE-F1CD0623FFF6}" dt="2019-02-04T12:56:52.877" v="1400" actId="20577"/>
        <pc:sldMkLst>
          <pc:docMk/>
          <pc:sldMk cId="1427293737" sldId="346"/>
        </pc:sldMkLst>
        <pc:spChg chg="del">
          <ac:chgData name="Marius Möck" userId="2d5fa6978198d51d" providerId="LiveId" clId="{52BEA8C9-68E1-4CE3-BDAE-F1CD0623FFF6}" dt="2019-02-04T12:56:49.169" v="1394"/>
          <ac:spMkLst>
            <pc:docMk/>
            <pc:sldMk cId="1427293737" sldId="346"/>
            <ac:spMk id="2" creationId="{BC590698-4CDA-4DF5-8A0D-5582013E917A}"/>
          </ac:spMkLst>
        </pc:spChg>
        <pc:spChg chg="del">
          <ac:chgData name="Marius Möck" userId="2d5fa6978198d51d" providerId="LiveId" clId="{52BEA8C9-68E1-4CE3-BDAE-F1CD0623FFF6}" dt="2019-02-04T12:56:49.169" v="1394"/>
          <ac:spMkLst>
            <pc:docMk/>
            <pc:sldMk cId="1427293737" sldId="346"/>
            <ac:spMk id="3" creationId="{C3EA7973-6E12-44CD-B19C-AEF9064D0D59}"/>
          </ac:spMkLst>
        </pc:spChg>
        <pc:spChg chg="add mod">
          <ac:chgData name="Marius Möck" userId="2d5fa6978198d51d" providerId="LiveId" clId="{52BEA8C9-68E1-4CE3-BDAE-F1CD0623FFF6}" dt="2019-02-04T12:56:52.877" v="1400" actId="20577"/>
          <ac:spMkLst>
            <pc:docMk/>
            <pc:sldMk cId="1427293737" sldId="346"/>
            <ac:spMk id="6" creationId="{9A773D6F-77E9-42DE-B959-2DD3C0D5A814}"/>
          </ac:spMkLst>
        </pc:spChg>
        <pc:spChg chg="add mod">
          <ac:chgData name="Marius Möck" userId="2d5fa6978198d51d" providerId="LiveId" clId="{52BEA8C9-68E1-4CE3-BDAE-F1CD0623FFF6}" dt="2019-02-04T12:56:49.169" v="1394"/>
          <ac:spMkLst>
            <pc:docMk/>
            <pc:sldMk cId="1427293737" sldId="346"/>
            <ac:spMk id="7" creationId="{654BD286-1635-4793-A03E-FCC4A4E7F3BE}"/>
          </ac:spMkLst>
        </pc:spChg>
      </pc:sldChg>
      <pc:sldChg chg="modSp ord">
        <pc:chgData name="Marius Möck" userId="2d5fa6978198d51d" providerId="LiveId" clId="{52BEA8C9-68E1-4CE3-BDAE-F1CD0623FFF6}" dt="2019-02-07T09:57:49.135" v="1705"/>
        <pc:sldMkLst>
          <pc:docMk/>
          <pc:sldMk cId="3360937211" sldId="349"/>
        </pc:sldMkLst>
        <pc:spChg chg="mod">
          <ac:chgData name="Marius Möck" userId="2d5fa6978198d51d" providerId="LiveId" clId="{52BEA8C9-68E1-4CE3-BDAE-F1CD0623FFF6}" dt="2019-02-07T09:57:42.139" v="1704" actId="20577"/>
          <ac:spMkLst>
            <pc:docMk/>
            <pc:sldMk cId="3360937211" sldId="349"/>
            <ac:spMk id="2" creationId="{88AE7518-EEC7-4BBB-AEFD-24F17111A41D}"/>
          </ac:spMkLst>
        </pc:spChg>
      </pc:sldChg>
      <pc:sldChg chg="addSp delSp modSp ord">
        <pc:chgData name="Marius Möck" userId="2d5fa6978198d51d" providerId="LiveId" clId="{52BEA8C9-68E1-4CE3-BDAE-F1CD0623FFF6}" dt="2019-02-14T11:23:23.990" v="3364" actId="1076"/>
        <pc:sldMkLst>
          <pc:docMk/>
          <pc:sldMk cId="3865210710" sldId="350"/>
        </pc:sldMkLst>
        <pc:spChg chg="mod">
          <ac:chgData name="Marius Möck" userId="2d5fa6978198d51d" providerId="LiveId" clId="{52BEA8C9-68E1-4CE3-BDAE-F1CD0623FFF6}" dt="2019-02-14T11:22:10.063" v="3333" actId="1076"/>
          <ac:spMkLst>
            <pc:docMk/>
            <pc:sldMk cId="3865210710" sldId="350"/>
            <ac:spMk id="2" creationId="{98F38B9F-E885-4588-8BB7-816AAD317C04}"/>
          </ac:spMkLst>
        </pc:spChg>
        <pc:spChg chg="add del mod">
          <ac:chgData name="Marius Möck" userId="2d5fa6978198d51d" providerId="LiveId" clId="{52BEA8C9-68E1-4CE3-BDAE-F1CD0623FFF6}" dt="2019-02-14T11:22:07.681" v="3331" actId="478"/>
          <ac:spMkLst>
            <pc:docMk/>
            <pc:sldMk cId="3865210710" sldId="350"/>
            <ac:spMk id="6" creationId="{2BD47686-045F-405E-A71C-8A1942495A9D}"/>
          </ac:spMkLst>
        </pc:spChg>
        <pc:spChg chg="mod">
          <ac:chgData name="Marius Möck" userId="2d5fa6978198d51d" providerId="LiveId" clId="{52BEA8C9-68E1-4CE3-BDAE-F1CD0623FFF6}" dt="2019-02-14T11:21:29.221" v="3326" actId="404"/>
          <ac:spMkLst>
            <pc:docMk/>
            <pc:sldMk cId="3865210710" sldId="350"/>
            <ac:spMk id="8" creationId="{9986EDFC-A9C9-4543-BDB2-99831741B83D}"/>
          </ac:spMkLst>
        </pc:spChg>
        <pc:spChg chg="add del mod">
          <ac:chgData name="Marius Möck" userId="2d5fa6978198d51d" providerId="LiveId" clId="{52BEA8C9-68E1-4CE3-BDAE-F1CD0623FFF6}" dt="2019-02-14T11:22:04.996" v="3330" actId="478"/>
          <ac:spMkLst>
            <pc:docMk/>
            <pc:sldMk cId="3865210710" sldId="350"/>
            <ac:spMk id="12" creationId="{4A07BEB9-B7DD-4F4E-961D-D0CE47A7ED85}"/>
          </ac:spMkLst>
        </pc:spChg>
        <pc:grpChg chg="add mod">
          <ac:chgData name="Marius Möck" userId="2d5fa6978198d51d" providerId="LiveId" clId="{52BEA8C9-68E1-4CE3-BDAE-F1CD0623FFF6}" dt="2019-02-14T11:22:30.806" v="3343" actId="164"/>
          <ac:grpSpMkLst>
            <pc:docMk/>
            <pc:sldMk cId="3865210710" sldId="350"/>
            <ac:grpSpMk id="7" creationId="{7631A4B0-8C1A-49D4-BA94-68D584E9946F}"/>
          </ac:grpSpMkLst>
        </pc:grpChg>
        <pc:picChg chg="del">
          <ac:chgData name="Marius Möck" userId="2d5fa6978198d51d" providerId="LiveId" clId="{52BEA8C9-68E1-4CE3-BDAE-F1CD0623FFF6}" dt="2019-02-14T11:21:57.645" v="3327" actId="478"/>
          <ac:picMkLst>
            <pc:docMk/>
            <pc:sldMk cId="3865210710" sldId="350"/>
            <ac:picMk id="9" creationId="{DEB27C69-DD79-4088-98F3-80AB01938760}"/>
          </ac:picMkLst>
        </pc:picChg>
        <pc:picChg chg="add mod">
          <ac:chgData name="Marius Möck" userId="2d5fa6978198d51d" providerId="LiveId" clId="{52BEA8C9-68E1-4CE3-BDAE-F1CD0623FFF6}" dt="2019-02-14T11:23:23.990" v="3364" actId="1076"/>
          <ac:picMkLst>
            <pc:docMk/>
            <pc:sldMk cId="3865210710" sldId="350"/>
            <ac:picMk id="10" creationId="{9B0C42EF-72A3-4AAD-B93F-8C91D9EF842A}"/>
          </ac:picMkLst>
        </pc:picChg>
        <pc:picChg chg="add mod">
          <ac:chgData name="Marius Möck" userId="2d5fa6978198d51d" providerId="LiveId" clId="{52BEA8C9-68E1-4CE3-BDAE-F1CD0623FFF6}" dt="2019-02-14T11:23:18.541" v="3363" actId="1076"/>
          <ac:picMkLst>
            <pc:docMk/>
            <pc:sldMk cId="3865210710" sldId="350"/>
            <ac:picMk id="11" creationId="{2D47892F-8244-418E-9E27-6683CB3F7A14}"/>
          </ac:picMkLst>
        </pc:picChg>
      </pc:sldChg>
      <pc:sldChg chg="ord">
        <pc:chgData name="Marius Möck" userId="2d5fa6978198d51d" providerId="LiveId" clId="{52BEA8C9-68E1-4CE3-BDAE-F1CD0623FFF6}" dt="2019-02-07T10:24:10.946" v="1733"/>
        <pc:sldMkLst>
          <pc:docMk/>
          <pc:sldMk cId="2445467899" sldId="354"/>
        </pc:sldMkLst>
      </pc:sldChg>
      <pc:sldChg chg="modSp addCm modCm">
        <pc:chgData name="Marius Möck" userId="2d5fa6978198d51d" providerId="LiveId" clId="{52BEA8C9-68E1-4CE3-BDAE-F1CD0623FFF6}" dt="2019-02-14T11:16:47.836" v="3320" actId="20577"/>
        <pc:sldMkLst>
          <pc:docMk/>
          <pc:sldMk cId="2274450700" sldId="356"/>
        </pc:sldMkLst>
        <pc:spChg chg="mod">
          <ac:chgData name="Marius Möck" userId="2d5fa6978198d51d" providerId="LiveId" clId="{52BEA8C9-68E1-4CE3-BDAE-F1CD0623FFF6}" dt="2019-02-11T11:09:26.548" v="2463" actId="20577"/>
          <ac:spMkLst>
            <pc:docMk/>
            <pc:sldMk cId="2274450700" sldId="356"/>
            <ac:spMk id="2" creationId="{9DA2405F-87E2-D745-976C-A6ADD967D7CC}"/>
          </ac:spMkLst>
        </pc:spChg>
        <pc:spChg chg="mod">
          <ac:chgData name="Marius Möck" userId="2d5fa6978198d51d" providerId="LiveId" clId="{52BEA8C9-68E1-4CE3-BDAE-F1CD0623FFF6}" dt="2019-02-11T12:32:41.454" v="3118" actId="20577"/>
          <ac:spMkLst>
            <pc:docMk/>
            <pc:sldMk cId="2274450700" sldId="356"/>
            <ac:spMk id="11" creationId="{DD716E22-F428-1147-B7C0-54FAB28310C2}"/>
          </ac:spMkLst>
        </pc:spChg>
        <pc:spChg chg="mod">
          <ac:chgData name="Marius Möck" userId="2d5fa6978198d51d" providerId="LiveId" clId="{52BEA8C9-68E1-4CE3-BDAE-F1CD0623FFF6}" dt="2019-02-14T11:16:47.836" v="3320" actId="20577"/>
          <ac:spMkLst>
            <pc:docMk/>
            <pc:sldMk cId="2274450700" sldId="356"/>
            <ac:spMk id="18" creationId="{1DF9A93D-B70F-FF45-8A97-1CF707E67733}"/>
          </ac:spMkLst>
        </pc:spChg>
      </pc:sldChg>
      <pc:sldChg chg="modSp add addCm">
        <pc:chgData name="Marius Möck" userId="2d5fa6978198d51d" providerId="LiveId" clId="{52BEA8C9-68E1-4CE3-BDAE-F1CD0623FFF6}" dt="2019-02-11T13:48:07.587" v="3240" actId="404"/>
        <pc:sldMkLst>
          <pc:docMk/>
          <pc:sldMk cId="4241012387" sldId="357"/>
        </pc:sldMkLst>
        <pc:spChg chg="mod">
          <ac:chgData name="Marius Möck" userId="2d5fa6978198d51d" providerId="LiveId" clId="{52BEA8C9-68E1-4CE3-BDAE-F1CD0623FFF6}" dt="2019-02-11T13:48:07.587" v="3240" actId="404"/>
          <ac:spMkLst>
            <pc:docMk/>
            <pc:sldMk cId="4241012387" sldId="357"/>
            <ac:spMk id="3" creationId="{096CD252-F124-4A79-ADCD-AF2D3EDD1643}"/>
          </ac:spMkLst>
        </pc:spChg>
      </pc:sldChg>
      <pc:sldChg chg="addSp delSp modSp">
        <pc:chgData name="Marius Möck" userId="2d5fa6978198d51d" providerId="LiveId" clId="{52BEA8C9-68E1-4CE3-BDAE-F1CD0623FFF6}" dt="2019-02-11T11:32:32.507" v="2477" actId="1076"/>
        <pc:sldMkLst>
          <pc:docMk/>
          <pc:sldMk cId="3496777796" sldId="359"/>
        </pc:sldMkLst>
        <pc:picChg chg="add mod">
          <ac:chgData name="Marius Möck" userId="2d5fa6978198d51d" providerId="LiveId" clId="{52BEA8C9-68E1-4CE3-BDAE-F1CD0623FFF6}" dt="2019-02-11T11:32:32.507" v="2477" actId="1076"/>
          <ac:picMkLst>
            <pc:docMk/>
            <pc:sldMk cId="3496777796" sldId="359"/>
            <ac:picMk id="6" creationId="{73D48B9F-BC6C-4C7B-8C83-41C9829B8C5C}"/>
          </ac:picMkLst>
        </pc:picChg>
        <pc:picChg chg="del">
          <ac:chgData name="Marius Möck" userId="2d5fa6978198d51d" providerId="LiveId" clId="{52BEA8C9-68E1-4CE3-BDAE-F1CD0623FFF6}" dt="2019-02-11T11:32:11.154" v="2469" actId="478"/>
          <ac:picMkLst>
            <pc:docMk/>
            <pc:sldMk cId="3496777796" sldId="359"/>
            <ac:picMk id="7" creationId="{B18A9EA0-32C4-4BD0-939B-D8724F54CCA8}"/>
          </ac:picMkLst>
        </pc:picChg>
      </pc:sldChg>
      <pc:sldChg chg="ord">
        <pc:chgData name="Marius Möck" userId="2d5fa6978198d51d" providerId="LiveId" clId="{52BEA8C9-68E1-4CE3-BDAE-F1CD0623FFF6}" dt="2019-02-11T13:38:56.400" v="3227"/>
        <pc:sldMkLst>
          <pc:docMk/>
          <pc:sldMk cId="1802135091" sldId="361"/>
        </pc:sldMkLst>
      </pc:sldChg>
      <pc:sldChg chg="addSp delSp modSp ord modNotesTx">
        <pc:chgData name="Marius Möck" userId="2d5fa6978198d51d" providerId="LiveId" clId="{52BEA8C9-68E1-4CE3-BDAE-F1CD0623FFF6}" dt="2019-02-11T12:03:16.332" v="3054" actId="1035"/>
        <pc:sldMkLst>
          <pc:docMk/>
          <pc:sldMk cId="690796981" sldId="363"/>
        </pc:sldMkLst>
        <pc:spChg chg="mod">
          <ac:chgData name="Marius Möck" userId="2d5fa6978198d51d" providerId="LiveId" clId="{52BEA8C9-68E1-4CE3-BDAE-F1CD0623FFF6}" dt="2019-02-11T11:09:14.099" v="2450" actId="20577"/>
          <ac:spMkLst>
            <pc:docMk/>
            <pc:sldMk cId="690796981" sldId="363"/>
            <ac:spMk id="2" creationId="{F7E93944-AEAD-43D1-9BC2-444592B2BA4B}"/>
          </ac:spMkLst>
        </pc:spChg>
        <pc:spChg chg="add del mod">
          <ac:chgData name="Marius Möck" userId="2d5fa6978198d51d" providerId="LiveId" clId="{52BEA8C9-68E1-4CE3-BDAE-F1CD0623FFF6}" dt="2019-02-09T16:31:56.034" v="1899" actId="478"/>
          <ac:spMkLst>
            <pc:docMk/>
            <pc:sldMk cId="690796981" sldId="363"/>
            <ac:spMk id="5" creationId="{04F7F814-4D8E-4006-B9CB-EE35F3BDF8A6}"/>
          </ac:spMkLst>
        </pc:spChg>
        <pc:spChg chg="add del mod">
          <ac:chgData name="Marius Möck" userId="2d5fa6978198d51d" providerId="LiveId" clId="{52BEA8C9-68E1-4CE3-BDAE-F1CD0623FFF6}" dt="2019-02-09T16:31:59.975" v="1901" actId="478"/>
          <ac:spMkLst>
            <pc:docMk/>
            <pc:sldMk cId="690796981" sldId="363"/>
            <ac:spMk id="8" creationId="{038CEFD4-886E-47AC-80B3-709EFC2D04E5}"/>
          </ac:spMkLst>
        </pc:spChg>
        <pc:spChg chg="add del mod">
          <ac:chgData name="Marius Möck" userId="2d5fa6978198d51d" providerId="LiveId" clId="{52BEA8C9-68E1-4CE3-BDAE-F1CD0623FFF6}" dt="2019-02-09T16:32:14.443" v="1903" actId="1032"/>
          <ac:spMkLst>
            <pc:docMk/>
            <pc:sldMk cId="690796981" sldId="363"/>
            <ac:spMk id="10" creationId="{42EC0EE5-FC43-4A43-AF4C-9155028AF74D}"/>
          </ac:spMkLst>
        </pc:spChg>
        <pc:spChg chg="add mod">
          <ac:chgData name="Marius Möck" userId="2d5fa6978198d51d" providerId="LiveId" clId="{52BEA8C9-68E1-4CE3-BDAE-F1CD0623FFF6}" dt="2019-02-11T12:03:16.332" v="3054" actId="1035"/>
          <ac:spMkLst>
            <pc:docMk/>
            <pc:sldMk cId="690796981" sldId="363"/>
            <ac:spMk id="20" creationId="{71DD749F-8032-4138-9DEB-C2C535E4500E}"/>
          </ac:spMkLst>
        </pc:spChg>
        <pc:spChg chg="add del mod">
          <ac:chgData name="Marius Möck" userId="2d5fa6978198d51d" providerId="LiveId" clId="{52BEA8C9-68E1-4CE3-BDAE-F1CD0623FFF6}" dt="2019-02-09T16:35:52.336" v="1929" actId="478"/>
          <ac:spMkLst>
            <pc:docMk/>
            <pc:sldMk cId="690796981" sldId="363"/>
            <ac:spMk id="20" creationId="{74B5AC14-474D-4D45-AA4D-348853A515F8}"/>
          </ac:spMkLst>
        </pc:spChg>
        <pc:spChg chg="add del mod">
          <ac:chgData name="Marius Möck" userId="2d5fa6978198d51d" providerId="LiveId" clId="{52BEA8C9-68E1-4CE3-BDAE-F1CD0623FFF6}" dt="2019-02-09T17:04:42.959" v="2316" actId="1076"/>
          <ac:spMkLst>
            <pc:docMk/>
            <pc:sldMk cId="690796981" sldId="363"/>
            <ac:spMk id="21" creationId="{CF52304A-704F-4085-8A7B-C07F03513443}"/>
          </ac:spMkLst>
        </pc:spChg>
        <pc:spChg chg="add mod">
          <ac:chgData name="Marius Möck" userId="2d5fa6978198d51d" providerId="LiveId" clId="{52BEA8C9-68E1-4CE3-BDAE-F1CD0623FFF6}" dt="2019-02-11T11:54:52.287" v="2970" actId="1076"/>
          <ac:spMkLst>
            <pc:docMk/>
            <pc:sldMk cId="690796981" sldId="363"/>
            <ac:spMk id="26" creationId="{74D986FD-75C6-47F6-BC31-AAF080E7B609}"/>
          </ac:spMkLst>
        </pc:spChg>
        <pc:spChg chg="add mod">
          <ac:chgData name="Marius Möck" userId="2d5fa6978198d51d" providerId="LiveId" clId="{52BEA8C9-68E1-4CE3-BDAE-F1CD0623FFF6}" dt="2019-02-11T11:55:22.381" v="2976" actId="1076"/>
          <ac:spMkLst>
            <pc:docMk/>
            <pc:sldMk cId="690796981" sldId="363"/>
            <ac:spMk id="27" creationId="{5B7F8AD3-06E9-4DE4-A13D-DE9ECFD6C725}"/>
          </ac:spMkLst>
        </pc:spChg>
        <pc:spChg chg="add mod">
          <ac:chgData name="Marius Möck" userId="2d5fa6978198d51d" providerId="LiveId" clId="{52BEA8C9-68E1-4CE3-BDAE-F1CD0623FFF6}" dt="2019-02-11T11:55:05.496" v="2974" actId="20577"/>
          <ac:spMkLst>
            <pc:docMk/>
            <pc:sldMk cId="690796981" sldId="363"/>
            <ac:spMk id="30" creationId="{7E416110-675F-4125-B32C-C61AE6DCDD04}"/>
          </ac:spMkLst>
        </pc:spChg>
        <pc:spChg chg="add del mod">
          <ac:chgData name="Marius Möck" userId="2d5fa6978198d51d" providerId="LiveId" clId="{52BEA8C9-68E1-4CE3-BDAE-F1CD0623FFF6}" dt="2019-02-09T16:59:18.644" v="2267" actId="478"/>
          <ac:spMkLst>
            <pc:docMk/>
            <pc:sldMk cId="690796981" sldId="363"/>
            <ac:spMk id="31" creationId="{A1F44613-C4A2-4B0C-849C-2EED7003D47C}"/>
          </ac:spMkLst>
        </pc:spChg>
        <pc:graphicFrameChg chg="add del mod">
          <ac:chgData name="Marius Möck" userId="2d5fa6978198d51d" providerId="LiveId" clId="{52BEA8C9-68E1-4CE3-BDAE-F1CD0623FFF6}" dt="2019-02-09T16:59:14.137" v="2266" actId="478"/>
          <ac:graphicFrameMkLst>
            <pc:docMk/>
            <pc:sldMk cId="690796981" sldId="363"/>
            <ac:graphicFrameMk id="11" creationId="{C5267F6A-7EC4-40AD-8557-228A7145CBFC}"/>
          </ac:graphicFrameMkLst>
        </pc:graphicFrameChg>
        <pc:picChg chg="del">
          <ac:chgData name="Marius Möck" userId="2d5fa6978198d51d" providerId="LiveId" clId="{52BEA8C9-68E1-4CE3-BDAE-F1CD0623FFF6}" dt="2019-02-11T12:02:27.355" v="3034" actId="478"/>
          <ac:picMkLst>
            <pc:docMk/>
            <pc:sldMk cId="690796981" sldId="363"/>
            <ac:picMk id="5" creationId="{E4805B99-174A-4BBF-A660-26AD7888628B}"/>
          </ac:picMkLst>
        </pc:picChg>
        <pc:picChg chg="add del">
          <ac:chgData name="Marius Möck" userId="2d5fa6978198d51d" providerId="LiveId" clId="{52BEA8C9-68E1-4CE3-BDAE-F1CD0623FFF6}" dt="2019-02-09T16:32:01.352" v="1902" actId="478"/>
          <ac:picMkLst>
            <pc:docMk/>
            <pc:sldMk cId="690796981" sldId="363"/>
            <ac:picMk id="7" creationId="{47BCF1FB-D117-4549-B542-483953ECAE0C}"/>
          </ac:picMkLst>
        </pc:picChg>
        <pc:picChg chg="add del mod modCrop">
          <ac:chgData name="Marius Möck" userId="2d5fa6978198d51d" providerId="LiveId" clId="{52BEA8C9-68E1-4CE3-BDAE-F1CD0623FFF6}" dt="2019-02-11T11:59:16.032" v="2991" actId="478"/>
          <ac:picMkLst>
            <pc:docMk/>
            <pc:sldMk cId="690796981" sldId="363"/>
            <ac:picMk id="7" creationId="{F447FBB4-2652-4627-9D12-789965413624}"/>
          </ac:picMkLst>
        </pc:picChg>
        <pc:picChg chg="add mod">
          <ac:chgData name="Marius Möck" userId="2d5fa6978198d51d" providerId="LiveId" clId="{52BEA8C9-68E1-4CE3-BDAE-F1CD0623FFF6}" dt="2019-02-11T12:03:03.572" v="3045" actId="1076"/>
          <ac:picMkLst>
            <pc:docMk/>
            <pc:sldMk cId="690796981" sldId="363"/>
            <ac:picMk id="9" creationId="{C219BA7C-7F08-402B-B7A1-0E7FA529D7B0}"/>
          </ac:picMkLst>
        </pc:picChg>
        <pc:picChg chg="add mod ord">
          <ac:chgData name="Marius Möck" userId="2d5fa6978198d51d" providerId="LiveId" clId="{52BEA8C9-68E1-4CE3-BDAE-F1CD0623FFF6}" dt="2019-02-11T12:03:10.336" v="3046" actId="1076"/>
          <ac:picMkLst>
            <pc:docMk/>
            <pc:sldMk cId="690796981" sldId="363"/>
            <ac:picMk id="13" creationId="{5A890745-1B43-4584-B1CA-A00E500BEF4D}"/>
          </ac:picMkLst>
        </pc:picChg>
        <pc:picChg chg="add mod ord">
          <ac:chgData name="Marius Möck" userId="2d5fa6978198d51d" providerId="LiveId" clId="{52BEA8C9-68E1-4CE3-BDAE-F1CD0623FFF6}" dt="2019-02-09T17:03:57.036" v="2310" actId="14861"/>
          <ac:picMkLst>
            <pc:docMk/>
            <pc:sldMk cId="690796981" sldId="363"/>
            <ac:picMk id="15" creationId="{64085328-006E-4926-B08A-4DFAB7D681A6}"/>
          </ac:picMkLst>
        </pc:picChg>
        <pc:picChg chg="add mod ord">
          <ac:chgData name="Marius Möck" userId="2d5fa6978198d51d" providerId="LiveId" clId="{52BEA8C9-68E1-4CE3-BDAE-F1CD0623FFF6}" dt="2019-02-09T17:03:57.036" v="2310" actId="14861"/>
          <ac:picMkLst>
            <pc:docMk/>
            <pc:sldMk cId="690796981" sldId="363"/>
            <ac:picMk id="17" creationId="{51A096CE-30EC-4634-AB9A-20765BDD4D5B}"/>
          </ac:picMkLst>
        </pc:picChg>
        <pc:picChg chg="add mod ord">
          <ac:chgData name="Marius Möck" userId="2d5fa6978198d51d" providerId="LiveId" clId="{52BEA8C9-68E1-4CE3-BDAE-F1CD0623FFF6}" dt="2019-02-11T11:57:31.599" v="2978" actId="1076"/>
          <ac:picMkLst>
            <pc:docMk/>
            <pc:sldMk cId="690796981" sldId="363"/>
            <ac:picMk id="19" creationId="{910F4457-9477-4C89-96D7-51315D29EAC6}"/>
          </ac:picMkLst>
        </pc:picChg>
        <pc:picChg chg="add del mod">
          <ac:chgData name="Marius Möck" userId="2d5fa6978198d51d" providerId="LiveId" clId="{52BEA8C9-68E1-4CE3-BDAE-F1CD0623FFF6}" dt="2019-02-09T16:45:40.154" v="2002" actId="931"/>
          <ac:picMkLst>
            <pc:docMk/>
            <pc:sldMk cId="690796981" sldId="363"/>
            <ac:picMk id="23" creationId="{E14DF1E2-B209-4F87-ABAE-F5630224B013}"/>
          </ac:picMkLst>
        </pc:picChg>
        <pc:picChg chg="add del mod">
          <ac:chgData name="Marius Möck" userId="2d5fa6978198d51d" providerId="LiveId" clId="{52BEA8C9-68E1-4CE3-BDAE-F1CD0623FFF6}" dt="2019-02-09T16:45:35.019" v="1992" actId="931"/>
          <ac:picMkLst>
            <pc:docMk/>
            <pc:sldMk cId="690796981" sldId="363"/>
            <ac:picMk id="25" creationId="{C1BCF9B0-162A-4F83-B540-364FD64C3509}"/>
          </ac:picMkLst>
        </pc:picChg>
        <pc:picChg chg="add mod">
          <ac:chgData name="Marius Möck" userId="2d5fa6978198d51d" providerId="LiveId" clId="{52BEA8C9-68E1-4CE3-BDAE-F1CD0623FFF6}" dt="2019-02-09T17:03:57.036" v="2310" actId="14861"/>
          <ac:picMkLst>
            <pc:docMk/>
            <pc:sldMk cId="690796981" sldId="363"/>
            <ac:picMk id="29" creationId="{6AEE589E-ED14-4DD1-BD8B-AD14D99F6826}"/>
          </ac:picMkLst>
        </pc:picChg>
      </pc:sldChg>
      <pc:sldChg chg="addSp delSp modSp add addCm delCm modCm modNotesTx">
        <pc:chgData name="Marius Möck" userId="2d5fa6978198d51d" providerId="LiveId" clId="{52BEA8C9-68E1-4CE3-BDAE-F1CD0623FFF6}" dt="2019-02-14T11:09:27.173" v="3272" actId="207"/>
        <pc:sldMkLst>
          <pc:docMk/>
          <pc:sldMk cId="3751617013" sldId="372"/>
        </pc:sldMkLst>
        <pc:spChg chg="mod">
          <ac:chgData name="Marius Möck" userId="2d5fa6978198d51d" providerId="LiveId" clId="{52BEA8C9-68E1-4CE3-BDAE-F1CD0623FFF6}" dt="2019-02-14T11:09:27.173" v="3272" actId="207"/>
          <ac:spMkLst>
            <pc:docMk/>
            <pc:sldMk cId="3751617013" sldId="372"/>
            <ac:spMk id="2" creationId="{9BE65419-0BBA-4AF7-B633-D618BE6A0EFA}"/>
          </ac:spMkLst>
        </pc:spChg>
        <pc:spChg chg="del">
          <ac:chgData name="Marius Möck" userId="2d5fa6978198d51d" providerId="LiveId" clId="{52BEA8C9-68E1-4CE3-BDAE-F1CD0623FFF6}" dt="2019-02-11T10:24:24.743" v="2322"/>
          <ac:spMkLst>
            <pc:docMk/>
            <pc:sldMk cId="3751617013" sldId="372"/>
            <ac:spMk id="3" creationId="{63C37BAD-D48B-47CE-AF95-96FF8FEAEF73}"/>
          </ac:spMkLst>
        </pc:spChg>
        <pc:spChg chg="add del mod">
          <ac:chgData name="Marius Möck" userId="2d5fa6978198d51d" providerId="LiveId" clId="{52BEA8C9-68E1-4CE3-BDAE-F1CD0623FFF6}" dt="2019-02-11T11:45:57.262" v="2762"/>
          <ac:spMkLst>
            <pc:docMk/>
            <pc:sldMk cId="3751617013" sldId="372"/>
            <ac:spMk id="3" creationId="{F3A1A743-385D-442C-9016-36BCDFEC1BC6}"/>
          </ac:spMkLst>
        </pc:spChg>
        <pc:spChg chg="add del mod">
          <ac:chgData name="Marius Möck" userId="2d5fa6978198d51d" providerId="LiveId" clId="{52BEA8C9-68E1-4CE3-BDAE-F1CD0623FFF6}" dt="2019-02-11T11:49:39.743" v="2837"/>
          <ac:spMkLst>
            <pc:docMk/>
            <pc:sldMk cId="3751617013" sldId="372"/>
            <ac:spMk id="6" creationId="{9BAC2CCE-A242-4CC1-B223-75DDE44755CA}"/>
          </ac:spMkLst>
        </pc:spChg>
        <pc:spChg chg="add mod">
          <ac:chgData name="Marius Möck" userId="2d5fa6978198d51d" providerId="LiveId" clId="{52BEA8C9-68E1-4CE3-BDAE-F1CD0623FFF6}" dt="2019-02-11T11:52:01.154" v="2961" actId="1076"/>
          <ac:spMkLst>
            <pc:docMk/>
            <pc:sldMk cId="3751617013" sldId="372"/>
            <ac:spMk id="9" creationId="{BF91CA42-989D-47CE-B685-DB2A2D8C00BC}"/>
          </ac:spMkLst>
        </pc:spChg>
        <pc:picChg chg="add del mod">
          <ac:chgData name="Marius Möck" userId="2d5fa6978198d51d" providerId="LiveId" clId="{52BEA8C9-68E1-4CE3-BDAE-F1CD0623FFF6}" dt="2019-02-11T11:45:55.429" v="2761"/>
          <ac:picMkLst>
            <pc:docMk/>
            <pc:sldMk cId="3751617013" sldId="372"/>
            <ac:picMk id="7" creationId="{83E04EA6-34D0-4F18-8BDE-BF063230EF80}"/>
          </ac:picMkLst>
        </pc:picChg>
        <pc:picChg chg="add mod">
          <ac:chgData name="Marius Möck" userId="2d5fa6978198d51d" providerId="LiveId" clId="{52BEA8C9-68E1-4CE3-BDAE-F1CD0623FFF6}" dt="2019-02-11T11:50:46.277" v="2947" actId="1038"/>
          <ac:picMkLst>
            <pc:docMk/>
            <pc:sldMk cId="3751617013" sldId="372"/>
            <ac:picMk id="8" creationId="{517CCF5C-323B-4475-87AD-C2CC1929BB85}"/>
          </ac:picMkLst>
        </pc:picChg>
      </pc:sldChg>
      <pc:sldChg chg="addSp delSp modSp">
        <pc:chgData name="Marius Möck" userId="2d5fa6978198d51d" providerId="LiveId" clId="{52BEA8C9-68E1-4CE3-BDAE-F1CD0623FFF6}" dt="2019-02-11T13:51:39.736" v="3268" actId="478"/>
        <pc:sldMkLst>
          <pc:docMk/>
          <pc:sldMk cId="2278617104" sldId="374"/>
        </pc:sldMkLst>
        <pc:spChg chg="mod">
          <ac:chgData name="Marius Möck" userId="2d5fa6978198d51d" providerId="LiveId" clId="{52BEA8C9-68E1-4CE3-BDAE-F1CD0623FFF6}" dt="2019-02-11T13:50:41.310" v="3261" actId="1076"/>
          <ac:spMkLst>
            <pc:docMk/>
            <pc:sldMk cId="2278617104" sldId="374"/>
            <ac:spMk id="2" creationId="{963B81F2-2CD0-4797-B79A-BCFC4932967C}"/>
          </ac:spMkLst>
        </pc:spChg>
        <pc:spChg chg="add del mod">
          <ac:chgData name="Marius Möck" userId="2d5fa6978198d51d" providerId="LiveId" clId="{52BEA8C9-68E1-4CE3-BDAE-F1CD0623FFF6}" dt="2019-02-11T13:50:34.876" v="3260"/>
          <ac:spMkLst>
            <pc:docMk/>
            <pc:sldMk cId="2278617104" sldId="374"/>
            <ac:spMk id="4" creationId="{6B797986-4862-48A3-98D5-208B0FE96E5D}"/>
          </ac:spMkLst>
        </pc:spChg>
        <pc:spChg chg="add del mod">
          <ac:chgData name="Marius Möck" userId="2d5fa6978198d51d" providerId="LiveId" clId="{52BEA8C9-68E1-4CE3-BDAE-F1CD0623FFF6}" dt="2019-02-11T13:50:34.876" v="3260"/>
          <ac:spMkLst>
            <pc:docMk/>
            <pc:sldMk cId="2278617104" sldId="374"/>
            <ac:spMk id="5" creationId="{8C28523A-CAE7-4D2B-A584-A12968357897}"/>
          </ac:spMkLst>
        </pc:spChg>
        <pc:spChg chg="add del mod">
          <ac:chgData name="Marius Möck" userId="2d5fa6978198d51d" providerId="LiveId" clId="{52BEA8C9-68E1-4CE3-BDAE-F1CD0623FFF6}" dt="2019-02-11T13:51:36.861" v="3267" actId="478"/>
          <ac:spMkLst>
            <pc:docMk/>
            <pc:sldMk cId="2278617104" sldId="374"/>
            <ac:spMk id="8" creationId="{58812E4E-6253-4321-91BE-0019427F3C0A}"/>
          </ac:spMkLst>
        </pc:spChg>
        <pc:spChg chg="add del mod">
          <ac:chgData name="Marius Möck" userId="2d5fa6978198d51d" providerId="LiveId" clId="{52BEA8C9-68E1-4CE3-BDAE-F1CD0623FFF6}" dt="2019-02-11T13:51:39.736" v="3268" actId="478"/>
          <ac:spMkLst>
            <pc:docMk/>
            <pc:sldMk cId="2278617104" sldId="374"/>
            <ac:spMk id="9" creationId="{153173BD-ACCE-4484-82E4-5B6406636AC7}"/>
          </ac:spMkLst>
        </pc:spChg>
      </pc:sldChg>
      <pc:sldChg chg="addSp delSp modSp add">
        <pc:chgData name="Marius Möck" userId="2d5fa6978198d51d" providerId="LiveId" clId="{52BEA8C9-68E1-4CE3-BDAE-F1CD0623FFF6}" dt="2019-02-14T11:15:58.787" v="3313" actId="20577"/>
        <pc:sldMkLst>
          <pc:docMk/>
          <pc:sldMk cId="754332965" sldId="378"/>
        </pc:sldMkLst>
        <pc:spChg chg="add del mod">
          <ac:chgData name="Marius Möck" userId="2d5fa6978198d51d" providerId="LiveId" clId="{52BEA8C9-68E1-4CE3-BDAE-F1CD0623FFF6}" dt="2019-02-11T12:36:08.148" v="3125" actId="1032"/>
          <ac:spMkLst>
            <pc:docMk/>
            <pc:sldMk cId="754332965" sldId="378"/>
            <ac:spMk id="3" creationId="{3ACF1817-D9A5-4547-A5A1-FE5A81CE8118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7" creationId="{0879EED5-278A-6247-9865-CBAEA31C42F8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9" creationId="{1768BD9B-5485-6E46-8829-74F0A0B582E8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0" creationId="{27D7C3F4-8D4D-A645-8BDD-9F6761018287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1" creationId="{71103368-D85F-FD4C-9C6F-4BAF9B3FD8EC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2" creationId="{29470847-4E56-734F-A611-38BF771F6DC0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3" creationId="{DD36C22D-65B4-AB43-A8D6-2DE81F4A4D4B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4" creationId="{982455EE-8AE8-7D4E-B9AE-9B1B7F3F40D9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5" creationId="{EBB2C2D8-9ABA-8341-B89D-26CA23DA9F95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6" creationId="{709AEFFB-58B3-6042-9DFE-4FD9D0735C89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7" creationId="{FA1CCACA-37A5-3C44-99C8-DD04B9B626A3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8" creationId="{51C30886-4045-6949-B43B-9FE775CF9716}"/>
          </ac:spMkLst>
        </pc:spChg>
        <pc:spChg chg="del">
          <ac:chgData name="Marius Möck" userId="2d5fa6978198d51d" providerId="LiveId" clId="{52BEA8C9-68E1-4CE3-BDAE-F1CD0623FFF6}" dt="2019-02-11T12:35:27.505" v="3120" actId="478"/>
          <ac:spMkLst>
            <pc:docMk/>
            <pc:sldMk cId="754332965" sldId="378"/>
            <ac:spMk id="19" creationId="{8077DFBA-E128-A34A-8F03-62A47F835131}"/>
          </ac:spMkLst>
        </pc:spChg>
        <pc:graphicFrameChg chg="add del mod">
          <ac:chgData name="Marius Möck" userId="2d5fa6978198d51d" providerId="LiveId" clId="{52BEA8C9-68E1-4CE3-BDAE-F1CD0623FFF6}" dt="2019-02-14T11:15:58.787" v="3313" actId="20577"/>
          <ac:graphicFrameMkLst>
            <pc:docMk/>
            <pc:sldMk cId="754332965" sldId="378"/>
            <ac:graphicFrameMk id="20" creationId="{A13DA86A-3660-4678-9430-EC0B96A1016C}"/>
          </ac:graphicFrameMkLst>
        </pc:graphicFrameChg>
      </pc:sldChg>
      <pc:sldChg chg="modSp add ord">
        <pc:chgData name="Marius Möck" userId="2d5fa6978198d51d" providerId="LiveId" clId="{52BEA8C9-68E1-4CE3-BDAE-F1CD0623FFF6}" dt="2019-02-11T13:48:47.808" v="3244" actId="207"/>
        <pc:sldMkLst>
          <pc:docMk/>
          <pc:sldMk cId="4160555036" sldId="379"/>
        </pc:sldMkLst>
        <pc:spChg chg="mod">
          <ac:chgData name="Marius Möck" userId="2d5fa6978198d51d" providerId="LiveId" clId="{52BEA8C9-68E1-4CE3-BDAE-F1CD0623FFF6}" dt="2019-02-11T13:48:47.808" v="3244" actId="207"/>
          <ac:spMkLst>
            <pc:docMk/>
            <pc:sldMk cId="4160555036" sldId="379"/>
            <ac:spMk id="3" creationId="{096CD252-F124-4A79-ADCD-AF2D3EDD1643}"/>
          </ac:spMkLst>
        </pc:spChg>
      </pc:sldChg>
      <pc:sldChg chg="modSp add">
        <pc:chgData name="Marius Möck" userId="2d5fa6978198d51d" providerId="LiveId" clId="{52BEA8C9-68E1-4CE3-BDAE-F1CD0623FFF6}" dt="2019-02-11T13:49:05.038" v="3248" actId="207"/>
        <pc:sldMkLst>
          <pc:docMk/>
          <pc:sldMk cId="138107003" sldId="380"/>
        </pc:sldMkLst>
        <pc:spChg chg="mod">
          <ac:chgData name="Marius Möck" userId="2d5fa6978198d51d" providerId="LiveId" clId="{52BEA8C9-68E1-4CE3-BDAE-F1CD0623FFF6}" dt="2019-02-11T13:49:05.038" v="3248" actId="207"/>
          <ac:spMkLst>
            <pc:docMk/>
            <pc:sldMk cId="138107003" sldId="380"/>
            <ac:spMk id="3" creationId="{096CD252-F124-4A79-ADCD-AF2D3EDD1643}"/>
          </ac:spMkLst>
        </pc:spChg>
      </pc:sldChg>
      <pc:sldChg chg="modSp">
        <pc:chgData name="Marius Möck" userId="2d5fa6978198d51d" providerId="LiveId" clId="{52BEA8C9-68E1-4CE3-BDAE-F1CD0623FFF6}" dt="2019-02-11T13:49:44.765" v="3253" actId="207"/>
        <pc:sldMkLst>
          <pc:docMk/>
          <pc:sldMk cId="4259837846" sldId="381"/>
        </pc:sldMkLst>
        <pc:spChg chg="mod">
          <ac:chgData name="Marius Möck" userId="2d5fa6978198d51d" providerId="LiveId" clId="{52BEA8C9-68E1-4CE3-BDAE-F1CD0623FFF6}" dt="2019-02-11T13:49:44.765" v="3253" actId="207"/>
          <ac:spMkLst>
            <pc:docMk/>
            <pc:sldMk cId="4259837846" sldId="381"/>
            <ac:spMk id="3" creationId="{096CD252-F124-4A79-ADCD-AF2D3EDD1643}"/>
          </ac:spMkLst>
        </pc:spChg>
      </pc:sldChg>
      <pc:sldChg chg="modSp add">
        <pc:chgData name="Marius Möck" userId="2d5fa6978198d51d" providerId="LiveId" clId="{52BEA8C9-68E1-4CE3-BDAE-F1CD0623FFF6}" dt="2019-02-11T13:50:08.155" v="3258" actId="207"/>
        <pc:sldMkLst>
          <pc:docMk/>
          <pc:sldMk cId="367030876" sldId="382"/>
        </pc:sldMkLst>
        <pc:spChg chg="mod">
          <ac:chgData name="Marius Möck" userId="2d5fa6978198d51d" providerId="LiveId" clId="{52BEA8C9-68E1-4CE3-BDAE-F1CD0623FFF6}" dt="2019-02-11T13:50:08.155" v="3258" actId="207"/>
          <ac:spMkLst>
            <pc:docMk/>
            <pc:sldMk cId="367030876" sldId="382"/>
            <ac:spMk id="3" creationId="{096CD252-F124-4A79-ADCD-AF2D3EDD1643}"/>
          </ac:spMkLst>
        </pc:spChg>
      </pc:sldChg>
      <pc:sldChg chg="modSp">
        <pc:chgData name="Marius Möck" userId="2d5fa6978198d51d" providerId="LiveId" clId="{52BEA8C9-68E1-4CE3-BDAE-F1CD0623FFF6}" dt="2019-02-11T13:51:18.423" v="3265" actId="207"/>
        <pc:sldMkLst>
          <pc:docMk/>
          <pc:sldMk cId="2477990988" sldId="383"/>
        </pc:sldMkLst>
        <pc:spChg chg="mod">
          <ac:chgData name="Marius Möck" userId="2d5fa6978198d51d" providerId="LiveId" clId="{52BEA8C9-68E1-4CE3-BDAE-F1CD0623FFF6}" dt="2019-02-11T13:51:18.423" v="3265" actId="207"/>
          <ac:spMkLst>
            <pc:docMk/>
            <pc:sldMk cId="2477990988" sldId="383"/>
            <ac:spMk id="3" creationId="{096CD252-F124-4A79-ADCD-AF2D3EDD1643}"/>
          </ac:spMkLst>
        </pc:spChg>
      </pc:sldChg>
      <pc:sldChg chg="mod">
        <pc:chgData name="Marius Möck" userId="2d5fa6978198d51d" providerId="LiveId" clId="{52BEA8C9-68E1-4CE3-BDAE-F1CD0623FFF6}" dt="2019-02-14T11:26:28.455" v="3377" actId="27918"/>
        <pc:sldMkLst>
          <pc:docMk/>
          <pc:sldMk cId="165206610" sldId="385"/>
        </pc:sldMkLst>
      </pc:sldChg>
    </pc:docChg>
  </pc:docChgLst>
  <pc:docChgLst>
    <pc:chgData name="Marius Möck" userId="2d5fa6978198d51d" providerId="Windows Live" clId="Web-{71CADDCA-3C7D-4E3F-B3FB-DB72F15CAE57}"/>
  </pc:docChgLst>
  <pc:docChgLst>
    <pc:chgData name="Gastbenutzer" providerId="Windows Live" clId="Web-{A835DA63-91C9-47B4-9B74-FDFAAA1CC076}"/>
    <pc:docChg chg="addSld delSld modSld modSection">
      <pc:chgData name="Gastbenutzer" userId="" providerId="Windows Live" clId="Web-{A835DA63-91C9-47B4-9B74-FDFAAA1CC076}" dt="2019-02-11T12:02:36.612" v="360" actId="20577"/>
      <pc:docMkLst>
        <pc:docMk/>
      </pc:docMkLst>
    </pc:docChg>
  </pc:docChgLst>
  <pc:docChgLst>
    <pc:chgData name="Alexander Dittmann" userId="128aedbbde34f6fe" providerId="Windows Live" clId="Web-{CC522AB6-0C5D-4159-82C2-B7BEC3BC5880}"/>
  </pc:docChgLst>
  <pc:docChgLst>
    <pc:chgData name="Marius Möck" userId="2d5fa6978198d51d" providerId="Windows Live" clId="Web-{A4775BAA-0F51-4710-BCA6-96A13202546A}"/>
  </pc:docChgLst>
  <pc:docChgLst>
    <pc:chgData name="Marius Möck" userId="2d5fa6978198d51d" providerId="Windows Live" clId="Web-{7FE781FC-BA2A-4DBB-8863-725C836EB2A7}"/>
  </pc:docChgLst>
  <pc:docChgLst>
    <pc:chgData name="Marius Möck" userId="2d5fa6978198d51d" providerId="Windows Live" clId="Web-{8D0D1BD9-196B-44DE-9CDD-6EDA0754E341}"/>
  </pc:docChgLst>
  <pc:docChgLst>
    <pc:chgData name="Gastbenutzer" providerId="Windows Live" clId="Web-{547C5A57-C269-4A90-8A5C-1F6D21557E52}"/>
  </pc:docChgLst>
  <pc:docChgLst>
    <pc:chgData name="Sebastian Lienau" userId="91cd32fe213c4f4f" providerId="Windows Live" clId="Web-{5FD7F168-83CE-4959-B6E5-406E9E6A5E01}"/>
    <pc:docChg chg="modSld">
      <pc:chgData name="Sebastian Lienau" userId="91cd32fe213c4f4f" providerId="Windows Live" clId="Web-{5FD7F168-83CE-4959-B6E5-406E9E6A5E01}" dt="2019-02-07T09:44:42.666" v="2" actId="20577"/>
      <pc:docMkLst>
        <pc:docMk/>
      </pc:docMkLst>
    </pc:docChg>
  </pc:docChgLst>
  <pc:docChgLst>
    <pc:chgData name="Gastbenutzer" providerId="Windows Live" clId="Web-{4E309DF2-12D6-4017-A7B3-C1B10416AB95}"/>
  </pc:docChgLst>
  <pc:docChgLst>
    <pc:chgData name="Antonio S." userId="2ffef37bb70309e0" providerId="LiveId" clId="{035FCB13-8028-4B4B-ABA2-4C337E4903E4}"/>
  </pc:docChgLst>
  <pc:docChgLst>
    <pc:chgData name="Christoph Witzko" userId="2f3a363482c7f5d6" providerId="Windows Live" clId="Web-{57DE812C-2233-463D-9E5E-57E83986CBBF}"/>
    <pc:docChg chg="modSld">
      <pc:chgData name="Christoph Witzko" userId="2f3a363482c7f5d6" providerId="Windows Live" clId="Web-{57DE812C-2233-463D-9E5E-57E83986CBBF}" dt="2019-02-14T11:20:13.306" v="8"/>
      <pc:docMkLst>
        <pc:docMk/>
      </pc:docMkLst>
      <pc:sldChg chg="modNotes">
        <pc:chgData name="Christoph Witzko" userId="2f3a363482c7f5d6" providerId="Windows Live" clId="Web-{57DE812C-2233-463D-9E5E-57E83986CBBF}" dt="2019-02-14T11:20:13.306" v="8"/>
        <pc:sldMkLst>
          <pc:docMk/>
          <pc:sldMk cId="1591283079" sldId="344"/>
        </pc:sldMkLst>
      </pc:sldChg>
      <pc:sldChg chg="modNotes">
        <pc:chgData name="Christoph Witzko" userId="2f3a363482c7f5d6" providerId="Windows Live" clId="Web-{57DE812C-2233-463D-9E5E-57E83986CBBF}" dt="2019-02-14T11:16:58.290" v="6"/>
        <pc:sldMkLst>
          <pc:docMk/>
          <pc:sldMk cId="2274450700" sldId="356"/>
        </pc:sldMkLst>
      </pc:sldChg>
    </pc:docChg>
  </pc:docChgLst>
  <pc:docChgLst>
    <pc:chgData name="Gastbenutzer" providerId="Windows Live" clId="Web-{07F34804-ACAF-420C-88A4-DBC4EF569088}"/>
  </pc:docChgLst>
  <pc:docChgLst>
    <pc:chgData name="Marius Möck" userId="2d5fa6978198d51d" providerId="Windows Live" clId="Web-{6276597C-A669-41AF-A878-5735F731C1E6}"/>
  </pc:docChgLst>
  <pc:docChgLst>
    <pc:chgData name="Antonio S." userId="2ffef37bb70309e0" providerId="LiveId" clId="{A472DAB2-E505-4D0A-B3D2-56C30B32BDC1}"/>
    <pc:docChg chg="modSld">
      <pc:chgData name="Antonio S." userId="2ffef37bb70309e0" providerId="LiveId" clId="{A472DAB2-E505-4D0A-B3D2-56C30B32BDC1}" dt="2019-01-31T10:24:10.147" v="31" actId="1076"/>
      <pc:docMkLst>
        <pc:docMk/>
      </pc:docMkLst>
    </pc:docChg>
  </pc:docChgLst>
  <pc:docChgLst>
    <pc:chgData name="Marius Möck" userId="2d5fa6978198d51d" providerId="Windows Live" clId="Web-{5EE0D216-A396-46DE-A75B-2DCBDBCCE4C7}"/>
  </pc:docChgLst>
  <pc:docChgLst>
    <pc:chgData name="Christoph Witzko" userId="2f3a363482c7f5d6" providerId="Windows Live" clId="Web-{01394C0F-C820-413A-998D-C4D6876A5442}"/>
    <pc:docChg chg="addSld modSld modSection">
      <pc:chgData name="Christoph Witzko" userId="2f3a363482c7f5d6" providerId="Windows Live" clId="Web-{01394C0F-C820-413A-998D-C4D6876A5442}" dt="2019-02-13T17:18:57.975" v="215"/>
      <pc:docMkLst>
        <pc:docMk/>
      </pc:docMkLst>
      <pc:sldChg chg="modNotes">
        <pc:chgData name="Christoph Witzko" userId="2f3a363482c7f5d6" providerId="Windows Live" clId="Web-{01394C0F-C820-413A-998D-C4D6876A5442}" dt="2019-02-13T16:47:43.530" v="214"/>
        <pc:sldMkLst>
          <pc:docMk/>
          <pc:sldMk cId="1591283079" sldId="344"/>
        </pc:sldMkLst>
      </pc:sldChg>
      <pc:sldChg chg="modSp">
        <pc:chgData name="Christoph Witzko" userId="2f3a363482c7f5d6" providerId="Windows Live" clId="Web-{01394C0F-C820-413A-998D-C4D6876A5442}" dt="2019-02-13T16:42:12.026" v="93" actId="20577"/>
        <pc:sldMkLst>
          <pc:docMk/>
          <pc:sldMk cId="3865210710" sldId="350"/>
        </pc:sldMkLst>
        <pc:spChg chg="mod">
          <ac:chgData name="Christoph Witzko" userId="2f3a363482c7f5d6" providerId="Windows Live" clId="Web-{01394C0F-C820-413A-998D-C4D6876A5442}" dt="2019-02-13T16:42:12.026" v="93" actId="20577"/>
          <ac:spMkLst>
            <pc:docMk/>
            <pc:sldMk cId="3865210710" sldId="350"/>
            <ac:spMk id="8" creationId="{9986EDFC-A9C9-4543-BDB2-99831741B83D}"/>
          </ac:spMkLst>
        </pc:spChg>
      </pc:sldChg>
      <pc:sldChg chg="modSp delCm modNotes">
        <pc:chgData name="Christoph Witzko" userId="2f3a363482c7f5d6" providerId="Windows Live" clId="Web-{01394C0F-C820-413A-998D-C4D6876A5442}" dt="2019-02-13T17:18:57.975" v="215"/>
        <pc:sldMkLst>
          <pc:docMk/>
          <pc:sldMk cId="2274450700" sldId="356"/>
        </pc:sldMkLst>
        <pc:spChg chg="mod">
          <ac:chgData name="Christoph Witzko" userId="2f3a363482c7f5d6" providerId="Windows Live" clId="Web-{01394C0F-C820-413A-998D-C4D6876A5442}" dt="2019-02-13T16:37:20.148" v="42" actId="20577"/>
          <ac:spMkLst>
            <pc:docMk/>
            <pc:sldMk cId="2274450700" sldId="356"/>
            <ac:spMk id="10" creationId="{3BA8B640-946F-D848-A106-735AC34692FF}"/>
          </ac:spMkLst>
        </pc:spChg>
      </pc:sldChg>
    </pc:docChg>
  </pc:docChgLst>
  <pc:docChgLst>
    <pc:chgData name="Christoph Witzko" userId="2f3a363482c7f5d6" providerId="Windows Live" clId="Web-{6D7E845A-7955-4D95-B187-606A5D1EEEB8}"/>
    <pc:docChg chg="modSld">
      <pc:chgData name="Christoph Witzko" userId="2f3a363482c7f5d6" providerId="Windows Live" clId="Web-{6D7E845A-7955-4D95-B187-606A5D1EEEB8}" dt="2019-02-13T22:44:54.886" v="571"/>
      <pc:docMkLst>
        <pc:docMk/>
      </pc:docMkLst>
      <pc:sldChg chg="delCm modNotes">
        <pc:chgData name="Christoph Witzko" userId="2f3a363482c7f5d6" providerId="Windows Live" clId="Web-{6D7E845A-7955-4D95-B187-606A5D1EEEB8}" dt="2019-02-13T22:36:24.444" v="559"/>
        <pc:sldMkLst>
          <pc:docMk/>
          <pc:sldMk cId="1591283079" sldId="344"/>
        </pc:sldMkLst>
      </pc:sldChg>
      <pc:sldChg chg="modSp modNotes">
        <pc:chgData name="Christoph Witzko" userId="2f3a363482c7f5d6" providerId="Windows Live" clId="Web-{6D7E845A-7955-4D95-B187-606A5D1EEEB8}" dt="2019-02-13T22:34:57.710" v="511"/>
        <pc:sldMkLst>
          <pc:docMk/>
          <pc:sldMk cId="3865210710" sldId="350"/>
        </pc:sldMkLst>
        <pc:spChg chg="mod">
          <ac:chgData name="Christoph Witzko" userId="2f3a363482c7f5d6" providerId="Windows Live" clId="Web-{6D7E845A-7955-4D95-B187-606A5D1EEEB8}" dt="2019-02-13T20:56:39.728" v="209" actId="20577"/>
          <ac:spMkLst>
            <pc:docMk/>
            <pc:sldMk cId="3865210710" sldId="350"/>
            <ac:spMk id="8" creationId="{9986EDFC-A9C9-4543-BDB2-99831741B83D}"/>
          </ac:spMkLst>
        </pc:spChg>
      </pc:sldChg>
      <pc:sldChg chg="modSp modNotes">
        <pc:chgData name="Christoph Witzko" userId="2f3a363482c7f5d6" providerId="Windows Live" clId="Web-{6D7E845A-7955-4D95-B187-606A5D1EEEB8}" dt="2019-02-13T22:44:54.886" v="571"/>
        <pc:sldMkLst>
          <pc:docMk/>
          <pc:sldMk cId="2274450700" sldId="356"/>
        </pc:sldMkLst>
        <pc:spChg chg="mod">
          <ac:chgData name="Christoph Witzko" userId="2f3a363482c7f5d6" providerId="Windows Live" clId="Web-{6D7E845A-7955-4D95-B187-606A5D1EEEB8}" dt="2019-02-13T22:10:04.677" v="313" actId="20577"/>
          <ac:spMkLst>
            <pc:docMk/>
            <pc:sldMk cId="2274450700" sldId="356"/>
            <ac:spMk id="15" creationId="{E2BF6EAD-F267-C54C-A8A0-D5AF8BC5D433}"/>
          </ac:spMkLst>
        </pc:spChg>
      </pc:sldChg>
    </pc:docChg>
  </pc:docChgLst>
  <pc:docChgLst>
    <pc:chgData name="Philipp Ratz" userId="2cc21629dbc12aa6" providerId="Windows Live" clId="Web-{9BBA0295-206D-4DA0-BC00-86BF7F3EB96E}"/>
    <pc:docChg chg="addSld modSld modSection">
      <pc:chgData name="Philipp Ratz" userId="2cc21629dbc12aa6" providerId="Windows Live" clId="Web-{9BBA0295-206D-4DA0-BC00-86BF7F3EB96E}" dt="2019-02-10T13:17:09.564" v="50" actId="20577"/>
      <pc:docMkLst>
        <pc:docMk/>
      </pc:docMkLst>
      <pc:sldChg chg="modSp">
        <pc:chgData name="Philipp Ratz" userId="2cc21629dbc12aa6" providerId="Windows Live" clId="Web-{9BBA0295-206D-4DA0-BC00-86BF7F3EB96E}" dt="2019-02-10T13:13:23.813" v="38" actId="14100"/>
        <pc:sldMkLst>
          <pc:docMk/>
          <pc:sldMk cId="2274450700" sldId="356"/>
        </pc:sldMkLst>
        <pc:spChg chg="mod">
          <ac:chgData name="Philipp Ratz" userId="2cc21629dbc12aa6" providerId="Windows Live" clId="Web-{9BBA0295-206D-4DA0-BC00-86BF7F3EB96E}" dt="2019-02-10T13:13:23.813" v="38" actId="14100"/>
          <ac:spMkLst>
            <pc:docMk/>
            <pc:sldMk cId="2274450700" sldId="356"/>
            <ac:spMk id="11" creationId="{DD716E22-F428-1147-B7C0-54FAB28310C2}"/>
          </ac:spMkLst>
        </pc:spChg>
      </pc:sldChg>
    </pc:docChg>
  </pc:docChgLst>
  <pc:docChgLst>
    <pc:chgData name="Christoph Witzko" userId="2f3a363482c7f5d6" providerId="Windows Live" clId="Web-{62A3973B-E130-4776-AB31-590797BD1D1A}"/>
    <pc:docChg chg="modSld">
      <pc:chgData name="Christoph Witzko" userId="2f3a363482c7f5d6" providerId="Windows Live" clId="Web-{62A3973B-E130-4776-AB31-590797BD1D1A}" dt="2019-02-12T15:14:21.992" v="196"/>
      <pc:docMkLst>
        <pc:docMk/>
      </pc:docMkLst>
      <pc:sldChg chg="modSp modNotes">
        <pc:chgData name="Christoph Witzko" userId="2f3a363482c7f5d6" providerId="Windows Live" clId="Web-{62A3973B-E130-4776-AB31-590797BD1D1A}" dt="2019-02-12T15:14:21.992" v="196"/>
        <pc:sldMkLst>
          <pc:docMk/>
          <pc:sldMk cId="2274450700" sldId="356"/>
        </pc:sldMkLst>
        <pc:spChg chg="mod">
          <ac:chgData name="Christoph Witzko" userId="2f3a363482c7f5d6" providerId="Windows Live" clId="Web-{62A3973B-E130-4776-AB31-590797BD1D1A}" dt="2019-02-12T14:33:29.301" v="143" actId="20577"/>
          <ac:spMkLst>
            <pc:docMk/>
            <pc:sldMk cId="2274450700" sldId="356"/>
            <ac:spMk id="15" creationId="{E2BF6EAD-F267-C54C-A8A0-D5AF8BC5D433}"/>
          </ac:spMkLst>
        </pc:spChg>
      </pc:sldChg>
    </pc:docChg>
  </pc:docChgLst>
  <pc:docChgLst>
    <pc:chgData name="Gastbenutzer" providerId="Windows Live" clId="Web-{FF3F63C1-48F1-49E0-B93E-9AD6FC353E12}"/>
  </pc:docChgLst>
  <pc:docChgLst>
    <pc:chgData name="Marius Möck" userId="2d5fa6978198d51d" providerId="LiveId" clId="{61F7C5D3-F6C4-4725-AB69-F9143E1683A4}"/>
  </pc:docChgLst>
  <pc:docChgLst>
    <pc:chgData name="Gastbenutzer" providerId="Windows Live" clId="Web-{8F6F03B4-90B5-40B6-BD30-DD8888B64E4F}"/>
  </pc:docChgLst>
  <pc:docChgLst>
    <pc:chgData name="Christoph Witzko" userId="2f3a363482c7f5d6" providerId="Windows Live" clId="Web-{7579A898-ABF1-45D7-B1C2-A01749480FE0}"/>
  </pc:docChgLst>
  <pc:docChgLst>
    <pc:chgData name="Christoph Witzko" userId="2f3a363482c7f5d6" providerId="Windows Live" clId="Web-{5B86488E-7E22-406A-A141-96ADF4EF8337}"/>
    <pc:docChg chg="modSld">
      <pc:chgData name="Christoph Witzko" userId="2f3a363482c7f5d6" providerId="Windows Live" clId="Web-{5B86488E-7E22-406A-A141-96ADF4EF8337}" dt="2019-02-14T12:09:49.893" v="6"/>
      <pc:docMkLst>
        <pc:docMk/>
      </pc:docMkLst>
      <pc:sldChg chg="modNotes">
        <pc:chgData name="Christoph Witzko" userId="2f3a363482c7f5d6" providerId="Windows Live" clId="Web-{5B86488E-7E22-406A-A141-96ADF4EF8337}" dt="2019-02-14T12:09:49.893" v="6"/>
        <pc:sldMkLst>
          <pc:docMk/>
          <pc:sldMk cId="1591283079" sldId="344"/>
        </pc:sldMkLst>
      </pc:sldChg>
    </pc:docChg>
  </pc:docChgLst>
  <pc:docChgLst>
    <pc:chgData name="Gastbenutzer" providerId="Windows Live" clId="Web-{FB7A04CC-4191-4BAB-BCED-055E9FAAA41D}"/>
  </pc:docChgLst>
  <pc:docChgLst>
    <pc:chgData name="Christoph Witzko" userId="2f3a363482c7f5d6" providerId="Windows Live" clId="Web-{1F02FDF9-AEFD-432C-97C8-4E84443006CD}"/>
  </pc:docChgLst>
  <pc:docChgLst>
    <pc:chgData name="Marius Möck" userId="2d5fa6978198d51d" providerId="Windows Live" clId="Web-{DC4361F0-A739-44E0-8650-B77BAFA94CC8}"/>
  </pc:docChgLst>
  <pc:docChgLst>
    <pc:chgData name="Christoph Witzko" userId="2f3a363482c7f5d6" providerId="Windows Live" clId="Web-{0B4DC791-7B98-481C-A7A8-06DAD5F427E5}"/>
  </pc:docChgLst>
  <pc:docChgLst>
    <pc:chgData name="Antonio S." userId="2ffef37bb70309e0" providerId="LiveId" clId="{2B7C0DB1-42F3-204D-9E8F-9763F9AAC8C7}"/>
    <pc:docChg chg="undo custSel addSld modSld sldOrd">
      <pc:chgData name="Antonio S." userId="2ffef37bb70309e0" providerId="LiveId" clId="{2B7C0DB1-42F3-204D-9E8F-9763F9AAC8C7}" dt="2019-02-11T17:19:39.920" v="636" actId="20577"/>
      <pc:docMkLst>
        <pc:docMk/>
      </pc:docMkLst>
      <pc:sldChg chg="ord">
        <pc:chgData name="Antonio S." userId="2ffef37bb70309e0" providerId="LiveId" clId="{2B7C0DB1-42F3-204D-9E8F-9763F9AAC8C7}" dt="2019-02-07T14:56:39.915" v="6"/>
        <pc:sldMkLst>
          <pc:docMk/>
          <pc:sldMk cId="111630377" sldId="270"/>
        </pc:sldMkLst>
      </pc:sldChg>
      <pc:sldChg chg="addSp delSp modSp modNotesTx">
        <pc:chgData name="Antonio S." userId="2ffef37bb70309e0" providerId="LiveId" clId="{2B7C0DB1-42F3-204D-9E8F-9763F9AAC8C7}" dt="2019-02-11T17:13:34.216" v="626" actId="688"/>
        <pc:sldMkLst>
          <pc:docMk/>
          <pc:sldMk cId="1591283079" sldId="344"/>
        </pc:sldMkLst>
        <pc:spChg chg="mod">
          <ac:chgData name="Antonio S." userId="2ffef37bb70309e0" providerId="LiveId" clId="{2B7C0DB1-42F3-204D-9E8F-9763F9AAC8C7}" dt="2019-02-07T15:33:50.592" v="567" actId="1076"/>
          <ac:spMkLst>
            <pc:docMk/>
            <pc:sldMk cId="1591283079" sldId="344"/>
            <ac:spMk id="2" creationId="{F9002ABA-1020-4FAD-9200-D7BB4C424E50}"/>
          </ac:spMkLst>
        </pc:spChg>
        <pc:spChg chg="mod">
          <ac:chgData name="Antonio S." userId="2ffef37bb70309e0" providerId="LiveId" clId="{2B7C0DB1-42F3-204D-9E8F-9763F9AAC8C7}" dt="2019-02-07T15:36:38.499" v="575" actId="12788"/>
          <ac:spMkLst>
            <pc:docMk/>
            <pc:sldMk cId="1591283079" sldId="344"/>
            <ac:spMk id="4" creationId="{02E8447B-2B07-4E44-9509-E107F1F88187}"/>
          </ac:spMkLst>
        </pc:spChg>
        <pc:spChg chg="mod">
          <ac:chgData name="Antonio S." userId="2ffef37bb70309e0" providerId="LiveId" clId="{2B7C0DB1-42F3-204D-9E8F-9763F9AAC8C7}" dt="2019-02-07T15:36:38.499" v="575" actId="12788"/>
          <ac:spMkLst>
            <pc:docMk/>
            <pc:sldMk cId="1591283079" sldId="344"/>
            <ac:spMk id="5" creationId="{25969DC4-CF44-483D-9216-CA7FA8CA34CD}"/>
          </ac:spMkLst>
        </pc:spChg>
        <pc:spChg chg="add del mod">
          <ac:chgData name="Antonio S." userId="2ffef37bb70309e0" providerId="LiveId" clId="{2B7C0DB1-42F3-204D-9E8F-9763F9AAC8C7}" dt="2019-02-07T15:21:00.728" v="242" actId="478"/>
          <ac:spMkLst>
            <pc:docMk/>
            <pc:sldMk cId="1591283079" sldId="344"/>
            <ac:spMk id="8" creationId="{0454C5DC-855C-804E-B427-1362C8A3997E}"/>
          </ac:spMkLst>
        </pc:spChg>
        <pc:spChg chg="add 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10" creationId="{FAFA7046-4253-254D-B81D-6C227FEA56E6}"/>
          </ac:spMkLst>
        </pc:spChg>
        <pc:spChg chg="add mod">
          <ac:chgData name="Antonio S." userId="2ffef37bb70309e0" providerId="LiveId" clId="{2B7C0DB1-42F3-204D-9E8F-9763F9AAC8C7}" dt="2019-02-07T15:35:25.138" v="569" actId="12788"/>
          <ac:spMkLst>
            <pc:docMk/>
            <pc:sldMk cId="1591283079" sldId="344"/>
            <ac:spMk id="12" creationId="{2CCF6A64-AE0D-FA45-80F5-BB187EE5C502}"/>
          </ac:spMkLst>
        </pc:spChg>
        <pc:spChg chg="add del mod">
          <ac:chgData name="Antonio S." userId="2ffef37bb70309e0" providerId="LiveId" clId="{2B7C0DB1-42F3-204D-9E8F-9763F9AAC8C7}" dt="2019-02-07T15:33:47.872" v="565" actId="478"/>
          <ac:spMkLst>
            <pc:docMk/>
            <pc:sldMk cId="1591283079" sldId="344"/>
            <ac:spMk id="13" creationId="{ED46FABD-396E-AF4D-AE38-7E1ADE69D5C6}"/>
          </ac:spMkLst>
        </pc:spChg>
        <pc:spChg chg="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19" creationId="{685447C9-92A8-4CD8-AC7A-919FF451385C}"/>
          </ac:spMkLst>
        </pc:spChg>
        <pc:spChg chg="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20" creationId="{75D24880-566C-4DF7-917D-36AEF4E53F10}"/>
          </ac:spMkLst>
        </pc:spChg>
        <pc:spChg chg="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21" creationId="{EC1551A9-95E5-45D8-8DD3-B9A456EF5436}"/>
          </ac:spMkLst>
        </pc:spChg>
        <pc:spChg chg="del mod">
          <ac:chgData name="Antonio S." userId="2ffef37bb70309e0" providerId="LiveId" clId="{2B7C0DB1-42F3-204D-9E8F-9763F9AAC8C7}" dt="2019-02-07T15:23:21.077" v="327"/>
          <ac:spMkLst>
            <pc:docMk/>
            <pc:sldMk cId="1591283079" sldId="344"/>
            <ac:spMk id="23" creationId="{5D28115B-67FD-426E-98C7-6C501EC5C275}"/>
          </ac:spMkLst>
        </pc:spChg>
        <pc:spChg chg="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25" creationId="{3FE8577F-A0B2-4DB6-A613-481C6A28E2B7}"/>
          </ac:spMkLst>
        </pc:spChg>
        <pc:spChg chg="add del mod">
          <ac:chgData name="Antonio S." userId="2ffef37bb70309e0" providerId="LiveId" clId="{2B7C0DB1-42F3-204D-9E8F-9763F9AAC8C7}" dt="2019-02-07T15:36:38.499" v="575" actId="12788"/>
          <ac:spMkLst>
            <pc:docMk/>
            <pc:sldMk cId="1591283079" sldId="344"/>
            <ac:spMk id="26" creationId="{BA4916A7-C60B-4573-8CA9-6AAF8374CF11}"/>
          </ac:spMkLst>
        </pc:spChg>
        <pc:spChg chg="add del 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31" creationId="{7A5BEFDA-3455-489F-BACE-00C0A435D840}"/>
          </ac:spMkLst>
        </pc:spChg>
        <pc:spChg chg="mod">
          <ac:chgData name="Antonio S." userId="2ffef37bb70309e0" providerId="LiveId" clId="{2B7C0DB1-42F3-204D-9E8F-9763F9AAC8C7}" dt="2019-02-07T15:36:38.499" v="575" actId="12788"/>
          <ac:spMkLst>
            <pc:docMk/>
            <pc:sldMk cId="1591283079" sldId="344"/>
            <ac:spMk id="32" creationId="{E6E87226-67CD-4E13-BDA6-147A1874A206}"/>
          </ac:spMkLst>
        </pc:spChg>
        <pc:spChg chg="mod">
          <ac:chgData name="Antonio S." userId="2ffef37bb70309e0" providerId="LiveId" clId="{2B7C0DB1-42F3-204D-9E8F-9763F9AAC8C7}" dt="2019-02-07T15:36:38.499" v="575" actId="12788"/>
          <ac:spMkLst>
            <pc:docMk/>
            <pc:sldMk cId="1591283079" sldId="344"/>
            <ac:spMk id="33" creationId="{1481004A-A116-4CA6-BE7F-203D3EAB2053}"/>
          </ac:spMkLst>
        </pc:spChg>
        <pc:spChg chg="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34" creationId="{533045B1-7E20-4968-97D6-18A80D51074D}"/>
          </ac:spMkLst>
        </pc:spChg>
        <pc:spChg chg="del mod">
          <ac:chgData name="Antonio S." userId="2ffef37bb70309e0" providerId="LiveId" clId="{2B7C0DB1-42F3-204D-9E8F-9763F9AAC8C7}" dt="2019-02-07T15:28:56.760" v="467" actId="478"/>
          <ac:spMkLst>
            <pc:docMk/>
            <pc:sldMk cId="1591283079" sldId="344"/>
            <ac:spMk id="35" creationId="{953F6A06-C541-4211-A1B2-A2530845FC43}"/>
          </ac:spMkLst>
        </pc:spChg>
        <pc:spChg chg="add del 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36" creationId="{26F6D9C2-CCA5-4C4C-870C-D3A2B9CAFABC}"/>
          </ac:spMkLst>
        </pc:spChg>
        <pc:spChg chg="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38" creationId="{121FE0E2-2497-4DE9-834A-F84CD5FC758F}"/>
          </ac:spMkLst>
        </pc:spChg>
        <pc:spChg chg="mod">
          <ac:chgData name="Antonio S." userId="2ffef37bb70309e0" providerId="LiveId" clId="{2B7C0DB1-42F3-204D-9E8F-9763F9AAC8C7}" dt="2019-02-07T15:35:25.138" v="569" actId="12788"/>
          <ac:spMkLst>
            <pc:docMk/>
            <pc:sldMk cId="1591283079" sldId="344"/>
            <ac:spMk id="42" creationId="{FAFA5BBD-0900-4B24-87CA-5A3E17E036FE}"/>
          </ac:spMkLst>
        </pc:spChg>
        <pc:spChg chg="mod">
          <ac:chgData name="Antonio S." userId="2ffef37bb70309e0" providerId="LiveId" clId="{2B7C0DB1-42F3-204D-9E8F-9763F9AAC8C7}" dt="2019-02-07T15:35:25.138" v="569" actId="12788"/>
          <ac:spMkLst>
            <pc:docMk/>
            <pc:sldMk cId="1591283079" sldId="344"/>
            <ac:spMk id="44" creationId="{0794FE15-FB41-418B-B750-881768A47470}"/>
          </ac:spMkLst>
        </pc:spChg>
        <pc:spChg chg="mod">
          <ac:chgData name="Antonio S." userId="2ffef37bb70309e0" providerId="LiveId" clId="{2B7C0DB1-42F3-204D-9E8F-9763F9AAC8C7}" dt="2019-02-07T15:35:25.138" v="569" actId="12788"/>
          <ac:spMkLst>
            <pc:docMk/>
            <pc:sldMk cId="1591283079" sldId="344"/>
            <ac:spMk id="46" creationId="{3E456B45-A718-4AE8-A322-03480DB2EFE2}"/>
          </ac:spMkLst>
        </pc:spChg>
        <pc:spChg chg="del">
          <ac:chgData name="Antonio S." userId="2ffef37bb70309e0" providerId="LiveId" clId="{2B7C0DB1-42F3-204D-9E8F-9763F9AAC8C7}" dt="2019-02-07T15:28:56.760" v="467" actId="478"/>
          <ac:spMkLst>
            <pc:docMk/>
            <pc:sldMk cId="1591283079" sldId="344"/>
            <ac:spMk id="47" creationId="{CD044DE1-CCED-481C-AEBE-08C445BD4587}"/>
          </ac:spMkLst>
        </pc:spChg>
        <pc:spChg chg="add del mod">
          <ac:chgData name="Antonio S." userId="2ffef37bb70309e0" providerId="LiveId" clId="{2B7C0DB1-42F3-204D-9E8F-9763F9AAC8C7}" dt="2019-02-07T15:18:11.671" v="182"/>
          <ac:spMkLst>
            <pc:docMk/>
            <pc:sldMk cId="1591283079" sldId="344"/>
            <ac:spMk id="49" creationId="{57DFE308-38BE-9346-825A-192A84AE29FA}"/>
          </ac:spMkLst>
        </pc:spChg>
        <pc:spChg chg="add mod">
          <ac:chgData name="Antonio S." userId="2ffef37bb70309e0" providerId="LiveId" clId="{2B7C0DB1-42F3-204D-9E8F-9763F9AAC8C7}" dt="2019-02-07T15:36:38.499" v="575" actId="12788"/>
          <ac:spMkLst>
            <pc:docMk/>
            <pc:sldMk cId="1591283079" sldId="344"/>
            <ac:spMk id="51" creationId="{370302EF-2C03-C642-94EF-861C7EC4C883}"/>
          </ac:spMkLst>
        </pc:spChg>
        <pc:spChg chg="add mod">
          <ac:chgData name="Antonio S." userId="2ffef37bb70309e0" providerId="LiveId" clId="{2B7C0DB1-42F3-204D-9E8F-9763F9AAC8C7}" dt="2019-02-07T15:35:53.986" v="570" actId="552"/>
          <ac:spMkLst>
            <pc:docMk/>
            <pc:sldMk cId="1591283079" sldId="344"/>
            <ac:spMk id="52" creationId="{4D2D4D0C-5D42-2240-ADE4-3484A6B40034}"/>
          </ac:spMkLst>
        </pc:spChg>
        <pc:grpChg chg="add mod">
          <ac:chgData name="Antonio S." userId="2ffef37bb70309e0" providerId="LiveId" clId="{2B7C0DB1-42F3-204D-9E8F-9763F9AAC8C7}" dt="2019-02-07T15:35:25.138" v="569" actId="12788"/>
          <ac:grpSpMkLst>
            <pc:docMk/>
            <pc:sldMk cId="1591283079" sldId="344"/>
            <ac:grpSpMk id="14" creationId="{256B4A54-E609-BB46-BB63-C971D4AEEB68}"/>
          </ac:grpSpMkLst>
        </pc:grpChg>
        <pc:picChg chg="mod">
          <ac:chgData name="Antonio S." userId="2ffef37bb70309e0" providerId="LiveId" clId="{2B7C0DB1-42F3-204D-9E8F-9763F9AAC8C7}" dt="2019-02-07T15:36:13.198" v="574" actId="1037"/>
          <ac:picMkLst>
            <pc:docMk/>
            <pc:sldMk cId="1591283079" sldId="344"/>
            <ac:picMk id="7" creationId="{58B5524C-FA3B-4BB6-A82C-A1BD215BAFDA}"/>
          </ac:picMkLst>
        </pc:picChg>
        <pc:picChg chg="mod">
          <ac:chgData name="Antonio S." userId="2ffef37bb70309e0" providerId="LiveId" clId="{2B7C0DB1-42F3-204D-9E8F-9763F9AAC8C7}" dt="2019-02-11T17:13:10.408" v="624" actId="1035"/>
          <ac:picMkLst>
            <pc:docMk/>
            <pc:sldMk cId="1591283079" sldId="344"/>
            <ac:picMk id="9" creationId="{1D31F990-10F3-4E3F-8518-B4AB6BF93DE6}"/>
          </ac:picMkLst>
        </pc:picChg>
        <pc:picChg chg="mod">
          <ac:chgData name="Antonio S." userId="2ffef37bb70309e0" providerId="LiveId" clId="{2B7C0DB1-42F3-204D-9E8F-9763F9AAC8C7}" dt="2019-02-07T15:36:13.198" v="574" actId="1037"/>
          <ac:picMkLst>
            <pc:docMk/>
            <pc:sldMk cId="1591283079" sldId="344"/>
            <ac:picMk id="11" creationId="{D0A7AB0B-C0F0-4287-8EAB-1CCF947D567E}"/>
          </ac:picMkLst>
        </pc:picChg>
        <pc:picChg chg="mod">
          <ac:chgData name="Antonio S." userId="2ffef37bb70309e0" providerId="LiveId" clId="{2B7C0DB1-42F3-204D-9E8F-9763F9AAC8C7}" dt="2019-02-11T17:13:29.841" v="625" actId="688"/>
          <ac:picMkLst>
            <pc:docMk/>
            <pc:sldMk cId="1591283079" sldId="344"/>
            <ac:picMk id="30" creationId="{1FBD0A06-623C-4405-99D3-E1865E50AC2A}"/>
          </ac:picMkLst>
        </pc:picChg>
        <pc:picChg chg="mod">
          <ac:chgData name="Antonio S." userId="2ffef37bb70309e0" providerId="LiveId" clId="{2B7C0DB1-42F3-204D-9E8F-9763F9AAC8C7}" dt="2019-02-07T15:34:05.298" v="568" actId="164"/>
          <ac:picMkLst>
            <pc:docMk/>
            <pc:sldMk cId="1591283079" sldId="344"/>
            <ac:picMk id="37" creationId="{956CE874-1359-468A-99AB-B6712EB5C7D3}"/>
          </ac:picMkLst>
        </pc:picChg>
        <pc:picChg chg="mod">
          <ac:chgData name="Antonio S." userId="2ffef37bb70309e0" providerId="LiveId" clId="{2B7C0DB1-42F3-204D-9E8F-9763F9AAC8C7}" dt="2019-02-07T15:34:05.298" v="568" actId="164"/>
          <ac:picMkLst>
            <pc:docMk/>
            <pc:sldMk cId="1591283079" sldId="344"/>
            <ac:picMk id="39" creationId="{1303747D-FA44-441D-AD45-71A4305C301D}"/>
          </ac:picMkLst>
        </pc:picChg>
        <pc:picChg chg="mod">
          <ac:chgData name="Antonio S." userId="2ffef37bb70309e0" providerId="LiveId" clId="{2B7C0DB1-42F3-204D-9E8F-9763F9AAC8C7}" dt="2019-02-07T15:34:05.298" v="568" actId="164"/>
          <ac:picMkLst>
            <pc:docMk/>
            <pc:sldMk cId="1591283079" sldId="344"/>
            <ac:picMk id="40" creationId="{C3F0B61E-3506-4EE3-935D-1E62BF5593F7}"/>
          </ac:picMkLst>
        </pc:picChg>
        <pc:picChg chg="del">
          <ac:chgData name="Antonio S." userId="2ffef37bb70309e0" providerId="LiveId" clId="{2B7C0DB1-42F3-204D-9E8F-9763F9AAC8C7}" dt="2019-02-07T15:28:56.760" v="467" actId="478"/>
          <ac:picMkLst>
            <pc:docMk/>
            <pc:sldMk cId="1591283079" sldId="344"/>
            <ac:picMk id="41" creationId="{67DE8E7F-53A3-4194-AAA7-B6E826A9236F}"/>
          </ac:picMkLst>
        </pc:picChg>
        <pc:picChg chg="mod">
          <ac:chgData name="Antonio S." userId="2ffef37bb70309e0" providerId="LiveId" clId="{2B7C0DB1-42F3-204D-9E8F-9763F9AAC8C7}" dt="2019-02-07T15:35:25.138" v="569" actId="12788"/>
          <ac:picMkLst>
            <pc:docMk/>
            <pc:sldMk cId="1591283079" sldId="344"/>
            <ac:picMk id="43" creationId="{5192741A-4355-4CC2-9A46-D72202AF5A1F}"/>
          </ac:picMkLst>
        </pc:picChg>
        <pc:picChg chg="mod">
          <ac:chgData name="Antonio S." userId="2ffef37bb70309e0" providerId="LiveId" clId="{2B7C0DB1-42F3-204D-9E8F-9763F9AAC8C7}" dt="2019-02-07T15:37:03.552" v="578" actId="207"/>
          <ac:picMkLst>
            <pc:docMk/>
            <pc:sldMk cId="1591283079" sldId="344"/>
            <ac:picMk id="45" creationId="{10A83E16-402F-452E-A144-8421AF4E825C}"/>
          </ac:picMkLst>
        </pc:picChg>
        <pc:picChg chg="add del mod">
          <ac:chgData name="Antonio S." userId="2ffef37bb70309e0" providerId="LiveId" clId="{2B7C0DB1-42F3-204D-9E8F-9763F9AAC8C7}" dt="2019-02-07T15:16:47.468" v="135" actId="478"/>
          <ac:picMkLst>
            <pc:docMk/>
            <pc:sldMk cId="1591283079" sldId="344"/>
            <ac:picMk id="48" creationId="{507214CE-384A-994E-AEFA-718A45BEC43E}"/>
          </ac:picMkLst>
        </pc:picChg>
        <pc:picChg chg="add mod">
          <ac:chgData name="Antonio S." userId="2ffef37bb70309e0" providerId="LiveId" clId="{2B7C0DB1-42F3-204D-9E8F-9763F9AAC8C7}" dt="2019-02-11T17:13:34.216" v="626" actId="688"/>
          <ac:picMkLst>
            <pc:docMk/>
            <pc:sldMk cId="1591283079" sldId="344"/>
            <ac:picMk id="50" creationId="{1F06B6CD-8C0A-1F4A-ABE5-5968A3F937F1}"/>
          </ac:picMkLst>
        </pc:picChg>
      </pc:sldChg>
      <pc:sldChg chg="modSp">
        <pc:chgData name="Antonio S." userId="2ffef37bb70309e0" providerId="LiveId" clId="{2B7C0DB1-42F3-204D-9E8F-9763F9AAC8C7}" dt="2019-02-11T17:10:54.716" v="610" actId="20577"/>
        <pc:sldMkLst>
          <pc:docMk/>
          <pc:sldMk cId="2274450700" sldId="356"/>
        </pc:sldMkLst>
        <pc:spChg chg="mod">
          <ac:chgData name="Antonio S." userId="2ffef37bb70309e0" providerId="LiveId" clId="{2B7C0DB1-42F3-204D-9E8F-9763F9AAC8C7}" dt="2019-02-11T17:10:54.716" v="610" actId="20577"/>
          <ac:spMkLst>
            <pc:docMk/>
            <pc:sldMk cId="2274450700" sldId="356"/>
            <ac:spMk id="18" creationId="{1DF9A93D-B70F-FF45-8A97-1CF707E67733}"/>
          </ac:spMkLst>
        </pc:spChg>
      </pc:sldChg>
      <pc:sldChg chg="addSp delSp modSp add modNotesTx">
        <pc:chgData name="Antonio S." userId="2ffef37bb70309e0" providerId="LiveId" clId="{2B7C0DB1-42F3-204D-9E8F-9763F9AAC8C7}" dt="2019-02-07T15:27:23.121" v="442" actId="20577"/>
        <pc:sldMkLst>
          <pc:docMk/>
          <pc:sldMk cId="3496777796" sldId="359"/>
        </pc:sldMkLst>
        <pc:spChg chg="mod">
          <ac:chgData name="Antonio S." userId="2ffef37bb70309e0" providerId="LiveId" clId="{2B7C0DB1-42F3-204D-9E8F-9763F9AAC8C7}" dt="2019-02-07T15:03:23.009" v="19" actId="20577"/>
          <ac:spMkLst>
            <pc:docMk/>
            <pc:sldMk cId="3496777796" sldId="359"/>
            <ac:spMk id="2" creationId="{ABA16263-9FD7-C54E-8124-5C537A3DE3AD}"/>
          </ac:spMkLst>
        </pc:spChg>
        <pc:spChg chg="del">
          <ac:chgData name="Antonio S." userId="2ffef37bb70309e0" providerId="LiveId" clId="{2B7C0DB1-42F3-204D-9E8F-9763F9AAC8C7}" dt="2019-02-07T15:03:32.810" v="20"/>
          <ac:spMkLst>
            <pc:docMk/>
            <pc:sldMk cId="3496777796" sldId="359"/>
            <ac:spMk id="3" creationId="{79181C9F-33C4-9642-AC0C-1742577D0BB9}"/>
          </ac:spMkLst>
        </pc:spChg>
        <pc:spChg chg="add del mod">
          <ac:chgData name="Antonio S." userId="2ffef37bb70309e0" providerId="LiveId" clId="{2B7C0DB1-42F3-204D-9E8F-9763F9AAC8C7}" dt="2019-02-07T15:09:52.400" v="35" actId="478"/>
          <ac:spMkLst>
            <pc:docMk/>
            <pc:sldMk cId="3496777796" sldId="359"/>
            <ac:spMk id="11" creationId="{0591B403-3A81-AB48-94BC-5C658FA1CEE5}"/>
          </ac:spMkLst>
        </pc:spChg>
        <pc:picChg chg="add del mod">
          <ac:chgData name="Antonio S." userId="2ffef37bb70309e0" providerId="LiveId" clId="{2B7C0DB1-42F3-204D-9E8F-9763F9AAC8C7}" dt="2019-02-07T15:09:46.905" v="33" actId="478"/>
          <ac:picMkLst>
            <pc:docMk/>
            <pc:sldMk cId="3496777796" sldId="359"/>
            <ac:picMk id="7" creationId="{23CE9DBD-4742-D24D-A927-58EE8F740CBD}"/>
          </ac:picMkLst>
        </pc:picChg>
        <pc:picChg chg="add del mod">
          <ac:chgData name="Antonio S." userId="2ffef37bb70309e0" providerId="LiveId" clId="{2B7C0DB1-42F3-204D-9E8F-9763F9AAC8C7}" dt="2019-02-07T15:11:42.542" v="50" actId="478"/>
          <ac:picMkLst>
            <pc:docMk/>
            <pc:sldMk cId="3496777796" sldId="359"/>
            <ac:picMk id="9" creationId="{1F784CB9-E48E-F548-9054-48C99DEA0DF4}"/>
          </ac:picMkLst>
        </pc:picChg>
        <pc:picChg chg="add del mod">
          <ac:chgData name="Antonio S." userId="2ffef37bb70309e0" providerId="LiveId" clId="{2B7C0DB1-42F3-204D-9E8F-9763F9AAC8C7}" dt="2019-02-07T15:11:08.170" v="46" actId="478"/>
          <ac:picMkLst>
            <pc:docMk/>
            <pc:sldMk cId="3496777796" sldId="359"/>
            <ac:picMk id="13" creationId="{C02304B1-6905-1541-8A8C-2933AEA59A83}"/>
          </ac:picMkLst>
        </pc:picChg>
        <pc:picChg chg="add mod">
          <ac:chgData name="Antonio S." userId="2ffef37bb70309e0" providerId="LiveId" clId="{2B7C0DB1-42F3-204D-9E8F-9763F9AAC8C7}" dt="2019-02-07T15:12:04.137" v="88" actId="1038"/>
          <ac:picMkLst>
            <pc:docMk/>
            <pc:sldMk cId="3496777796" sldId="359"/>
            <ac:picMk id="15" creationId="{66E07592-19DD-194A-9FB7-B5C5CDFE6FAF}"/>
          </ac:picMkLst>
        </pc:picChg>
      </pc:sldChg>
      <pc:sldChg chg="ord">
        <pc:chgData name="Antonio S." userId="2ffef37bb70309e0" providerId="LiveId" clId="{2B7C0DB1-42F3-204D-9E8F-9763F9AAC8C7}" dt="2019-02-11T17:17:18.610" v="627"/>
        <pc:sldMkLst>
          <pc:docMk/>
          <pc:sldMk cId="3032303920" sldId="360"/>
        </pc:sldMkLst>
      </pc:sldChg>
      <pc:sldChg chg="modSp">
        <pc:chgData name="Antonio S." userId="2ffef37bb70309e0" providerId="LiveId" clId="{2B7C0DB1-42F3-204D-9E8F-9763F9AAC8C7}" dt="2019-02-11T17:06:32.173" v="609" actId="6549"/>
        <pc:sldMkLst>
          <pc:docMk/>
          <pc:sldMk cId="690796981" sldId="363"/>
        </pc:sldMkLst>
        <pc:spChg chg="mod">
          <ac:chgData name="Antonio S." userId="2ffef37bb70309e0" providerId="LiveId" clId="{2B7C0DB1-42F3-204D-9E8F-9763F9AAC8C7}" dt="2019-02-11T17:06:32.173" v="609" actId="6549"/>
          <ac:spMkLst>
            <pc:docMk/>
            <pc:sldMk cId="690796981" sldId="363"/>
            <ac:spMk id="30" creationId="{7E416110-675F-4125-B32C-C61AE6DCDD04}"/>
          </ac:spMkLst>
        </pc:spChg>
      </pc:sldChg>
      <pc:sldChg chg="modSp">
        <pc:chgData name="Antonio S." userId="2ffef37bb70309e0" providerId="LiveId" clId="{2B7C0DB1-42F3-204D-9E8F-9763F9AAC8C7}" dt="2019-02-11T17:18:25.295" v="630" actId="1076"/>
        <pc:sldMkLst>
          <pc:docMk/>
          <pc:sldMk cId="449367235" sldId="365"/>
        </pc:sldMkLst>
        <pc:spChg chg="mod">
          <ac:chgData name="Antonio S." userId="2ffef37bb70309e0" providerId="LiveId" clId="{2B7C0DB1-42F3-204D-9E8F-9763F9AAC8C7}" dt="2019-02-11T17:18:25.295" v="630" actId="1076"/>
          <ac:spMkLst>
            <pc:docMk/>
            <pc:sldMk cId="449367235" sldId="365"/>
            <ac:spMk id="6" creationId="{EDD51E06-F696-47EF-880C-2D8DA88683FB}"/>
          </ac:spMkLst>
        </pc:spChg>
      </pc:sldChg>
      <pc:sldChg chg="modSp">
        <pc:chgData name="Antonio S." userId="2ffef37bb70309e0" providerId="LiveId" clId="{2B7C0DB1-42F3-204D-9E8F-9763F9AAC8C7}" dt="2019-02-11T17:19:31.717" v="632" actId="20577"/>
        <pc:sldMkLst>
          <pc:docMk/>
          <pc:sldMk cId="2278617104" sldId="374"/>
        </pc:sldMkLst>
        <pc:spChg chg="mod">
          <ac:chgData name="Antonio S." userId="2ffef37bb70309e0" providerId="LiveId" clId="{2B7C0DB1-42F3-204D-9E8F-9763F9AAC8C7}" dt="2019-02-11T17:19:31.717" v="632" actId="20577"/>
          <ac:spMkLst>
            <pc:docMk/>
            <pc:sldMk cId="2278617104" sldId="374"/>
            <ac:spMk id="2" creationId="{963B81F2-2CD0-4797-B79A-BCFC4932967C}"/>
          </ac:spMkLst>
        </pc:spChg>
      </pc:sldChg>
      <pc:sldChg chg="modSp">
        <pc:chgData name="Antonio S." userId="2ffef37bb70309e0" providerId="LiveId" clId="{2B7C0DB1-42F3-204D-9E8F-9763F9AAC8C7}" dt="2019-02-11T17:19:39.920" v="636" actId="20577"/>
        <pc:sldMkLst>
          <pc:docMk/>
          <pc:sldMk cId="3985302116" sldId="377"/>
        </pc:sldMkLst>
        <pc:spChg chg="mod">
          <ac:chgData name="Antonio S." userId="2ffef37bb70309e0" providerId="LiveId" clId="{2B7C0DB1-42F3-204D-9E8F-9763F9AAC8C7}" dt="2019-02-11T17:19:39.920" v="636" actId="20577"/>
          <ac:spMkLst>
            <pc:docMk/>
            <pc:sldMk cId="3985302116" sldId="377"/>
            <ac:spMk id="4" creationId="{99B2AB4D-9161-4DE5-A8A7-8F96650A1DCD}"/>
          </ac:spMkLst>
        </pc:spChg>
      </pc:sldChg>
    </pc:docChg>
  </pc:docChgLst>
  <pc:docChgLst>
    <pc:chgData name="Alexander Dittmann" userId="128aedbbde34f6fe" providerId="LiveId" clId="{20511A73-F507-4144-8052-2D6CF820BBB0}"/>
    <pc:docChg chg="undo redo custSel addSld delSld modSld sldOrd modSection">
      <pc:chgData name="Alexander Dittmann" userId="128aedbbde34f6fe" providerId="LiveId" clId="{20511A73-F507-4144-8052-2D6CF820BBB0}" dt="2019-02-13T19:32:58.099" v="3256" actId="20577"/>
      <pc:docMkLst>
        <pc:docMk/>
      </pc:docMkLst>
      <pc:sldChg chg="ord">
        <pc:chgData name="Alexander Dittmann" userId="128aedbbde34f6fe" providerId="LiveId" clId="{20511A73-F507-4144-8052-2D6CF820BBB0}" dt="2019-02-11T10:59:02.558" v="2211"/>
        <pc:sldMkLst>
          <pc:docMk/>
          <pc:sldMk cId="3267112402" sldId="329"/>
        </pc:sldMkLst>
      </pc:sldChg>
      <pc:sldChg chg="modSp">
        <pc:chgData name="Alexander Dittmann" userId="128aedbbde34f6fe" providerId="LiveId" clId="{20511A73-F507-4144-8052-2D6CF820BBB0}" dt="2019-02-08T09:47:58.764" v="778" actId="1035"/>
        <pc:sldMkLst>
          <pc:docMk/>
          <pc:sldMk cId="1591283079" sldId="344"/>
        </pc:sldMkLst>
        <pc:spChg chg="mod">
          <ac:chgData name="Alexander Dittmann" userId="128aedbbde34f6fe" providerId="LiveId" clId="{20511A73-F507-4144-8052-2D6CF820BBB0}" dt="2019-02-08T09:43:42.013" v="735" actId="1076"/>
          <ac:spMkLst>
            <pc:docMk/>
            <pc:sldMk cId="1591283079" sldId="344"/>
            <ac:spMk id="3" creationId="{E92A7433-6444-441B-B16C-6957BBF48DA4}"/>
          </ac:spMkLst>
        </pc:spChg>
        <pc:spChg chg="mod">
          <ac:chgData name="Alexander Dittmann" userId="128aedbbde34f6fe" providerId="LiveId" clId="{20511A73-F507-4144-8052-2D6CF820BBB0}" dt="2019-02-08T09:47:13.458" v="761" actId="14100"/>
          <ac:spMkLst>
            <pc:docMk/>
            <pc:sldMk cId="1591283079" sldId="344"/>
            <ac:spMk id="4" creationId="{02E8447B-2B07-4E44-9509-E107F1F88187}"/>
          </ac:spMkLst>
        </pc:spChg>
        <pc:spChg chg="mod">
          <ac:chgData name="Alexander Dittmann" userId="128aedbbde34f6fe" providerId="LiveId" clId="{20511A73-F507-4144-8052-2D6CF820BBB0}" dt="2019-02-08T09:42:41.736" v="723" actId="14100"/>
          <ac:spMkLst>
            <pc:docMk/>
            <pc:sldMk cId="1591283079" sldId="344"/>
            <ac:spMk id="26" creationId="{BA4916A7-C60B-4573-8CA9-6AAF8374CF11}"/>
          </ac:spMkLst>
        </pc:spChg>
        <pc:spChg chg="mod">
          <ac:chgData name="Alexander Dittmann" userId="128aedbbde34f6fe" providerId="LiveId" clId="{20511A73-F507-4144-8052-2D6CF820BBB0}" dt="2019-02-08T09:43:16.013" v="728" actId="1076"/>
          <ac:spMkLst>
            <pc:docMk/>
            <pc:sldMk cId="1591283079" sldId="344"/>
            <ac:spMk id="32" creationId="{E6E87226-67CD-4E13-BDA6-147A1874A206}"/>
          </ac:spMkLst>
        </pc:spChg>
        <pc:spChg chg="mod">
          <ac:chgData name="Alexander Dittmann" userId="128aedbbde34f6fe" providerId="LiveId" clId="{20511A73-F507-4144-8052-2D6CF820BBB0}" dt="2019-02-08T09:43:24.937" v="731" actId="1076"/>
          <ac:spMkLst>
            <pc:docMk/>
            <pc:sldMk cId="1591283079" sldId="344"/>
            <ac:spMk id="33" creationId="{1481004A-A116-4CA6-BE7F-203D3EAB2053}"/>
          </ac:spMkLst>
        </pc:spChg>
        <pc:spChg chg="mod">
          <ac:chgData name="Alexander Dittmann" userId="128aedbbde34f6fe" providerId="LiveId" clId="{20511A73-F507-4144-8052-2D6CF820BBB0}" dt="2019-02-08T09:47:13.742" v="762" actId="1076"/>
          <ac:spMkLst>
            <pc:docMk/>
            <pc:sldMk cId="1591283079" sldId="344"/>
            <ac:spMk id="38" creationId="{121FE0E2-2497-4DE9-834A-F84CD5FC758F}"/>
          </ac:spMkLst>
        </pc:spChg>
        <pc:spChg chg="mod">
          <ac:chgData name="Alexander Dittmann" userId="128aedbbde34f6fe" providerId="LiveId" clId="{20511A73-F507-4144-8052-2D6CF820BBB0}" dt="2019-02-08T09:47:58.764" v="778" actId="1035"/>
          <ac:spMkLst>
            <pc:docMk/>
            <pc:sldMk cId="1591283079" sldId="344"/>
            <ac:spMk id="51" creationId="{370302EF-2C03-C642-94EF-861C7EC4C883}"/>
          </ac:spMkLst>
        </pc:spChg>
        <pc:spChg chg="mod">
          <ac:chgData name="Alexander Dittmann" userId="128aedbbde34f6fe" providerId="LiveId" clId="{20511A73-F507-4144-8052-2D6CF820BBB0}" dt="2019-02-08T09:47:13.742" v="762" actId="1076"/>
          <ac:spMkLst>
            <pc:docMk/>
            <pc:sldMk cId="1591283079" sldId="344"/>
            <ac:spMk id="52" creationId="{4D2D4D0C-5D42-2240-ADE4-3484A6B40034}"/>
          </ac:spMkLst>
        </pc:spChg>
        <pc:picChg chg="mod">
          <ac:chgData name="Alexander Dittmann" userId="128aedbbde34f6fe" providerId="LiveId" clId="{20511A73-F507-4144-8052-2D6CF820BBB0}" dt="2019-02-08T09:47:14.271" v="763" actId="1076"/>
          <ac:picMkLst>
            <pc:docMk/>
            <pc:sldMk cId="1591283079" sldId="344"/>
            <ac:picMk id="50" creationId="{1F06B6CD-8C0A-1F4A-ABE5-5968A3F937F1}"/>
          </ac:picMkLst>
        </pc:picChg>
      </pc:sldChg>
      <pc:sldChg chg="addSp delSp modSp delAnim modAnim">
        <pc:chgData name="Alexander Dittmann" userId="128aedbbde34f6fe" providerId="LiveId" clId="{20511A73-F507-4144-8052-2D6CF820BBB0}" dt="2019-02-13T17:06:10.565" v="3251"/>
        <pc:sldMkLst>
          <pc:docMk/>
          <pc:sldMk cId="2561898353" sldId="351"/>
        </pc:sldMkLst>
        <pc:spChg chg="del">
          <ac:chgData name="Alexander Dittmann" userId="128aedbbde34f6fe" providerId="LiveId" clId="{20511A73-F507-4144-8052-2D6CF820BBB0}" dt="2019-02-13T14:00:57.539" v="3205"/>
          <ac:spMkLst>
            <pc:docMk/>
            <pc:sldMk cId="2561898353" sldId="351"/>
            <ac:spMk id="3" creationId="{E75585DA-C64F-437B-8076-16EA56E404E8}"/>
          </ac:spMkLst>
        </pc:spChg>
        <pc:spChg chg="add del mod">
          <ac:chgData name="Alexander Dittmann" userId="128aedbbde34f6fe" providerId="LiveId" clId="{20511A73-F507-4144-8052-2D6CF820BBB0}" dt="2019-02-13T17:05:58.001" v="3248"/>
          <ac:spMkLst>
            <pc:docMk/>
            <pc:sldMk cId="2561898353" sldId="351"/>
            <ac:spMk id="8" creationId="{F91DA076-C2AE-4383-BE44-E371FFAC555D}"/>
          </ac:spMkLst>
        </pc:spChg>
        <pc:picChg chg="add del mod">
          <ac:chgData name="Alexander Dittmann" userId="128aedbbde34f6fe" providerId="LiveId" clId="{20511A73-F507-4144-8052-2D6CF820BBB0}" dt="2019-02-13T17:05:49.358" v="3247" actId="478"/>
          <ac:picMkLst>
            <pc:docMk/>
            <pc:sldMk cId="2561898353" sldId="351"/>
            <ac:picMk id="4" creationId="{50378300-0FDC-4A1E-B2B3-8B75C07810D1}"/>
          </ac:picMkLst>
        </pc:picChg>
        <pc:picChg chg="add mod">
          <ac:chgData name="Alexander Dittmann" userId="128aedbbde34f6fe" providerId="LiveId" clId="{20511A73-F507-4144-8052-2D6CF820BBB0}" dt="2019-02-13T17:05:58.001" v="3248"/>
          <ac:picMkLst>
            <pc:docMk/>
            <pc:sldMk cId="2561898353" sldId="351"/>
            <ac:picMk id="9" creationId="{1F668CEF-8AB9-4AAA-B070-93A068BE148E}"/>
          </ac:picMkLst>
        </pc:picChg>
      </pc:sldChg>
      <pc:sldChg chg="addSp delSp modSp add">
        <pc:chgData name="Alexander Dittmann" userId="128aedbbde34f6fe" providerId="LiveId" clId="{20511A73-F507-4144-8052-2D6CF820BBB0}" dt="2019-02-07T09:14:53.490" v="722" actId="207"/>
        <pc:sldMkLst>
          <pc:docMk/>
          <pc:sldMk cId="2445467899" sldId="354"/>
        </pc:sldMkLst>
        <pc:spChg chg="mod">
          <ac:chgData name="Alexander Dittmann" userId="128aedbbde34f6fe" providerId="LiveId" clId="{20511A73-F507-4144-8052-2D6CF820BBB0}" dt="2019-02-05T18:50:02.927" v="26" actId="20577"/>
          <ac:spMkLst>
            <pc:docMk/>
            <pc:sldMk cId="2445467899" sldId="354"/>
            <ac:spMk id="2" creationId="{4FBA80E1-84AA-44AD-8103-BE96F0DFD7CD}"/>
          </ac:spMkLst>
        </pc:spChg>
        <pc:spChg chg="del">
          <ac:chgData name="Alexander Dittmann" userId="128aedbbde34f6fe" providerId="LiveId" clId="{20511A73-F507-4144-8052-2D6CF820BBB0}" dt="2019-02-05T18:51:43.472" v="27" actId="1032"/>
          <ac:spMkLst>
            <pc:docMk/>
            <pc:sldMk cId="2445467899" sldId="354"/>
            <ac:spMk id="3" creationId="{273B9BB3-EF22-44A4-AC9D-C5DE45F66B93}"/>
          </ac:spMkLst>
        </pc:spChg>
        <pc:graphicFrameChg chg="add mod">
          <ac:chgData name="Alexander Dittmann" userId="128aedbbde34f6fe" providerId="LiveId" clId="{20511A73-F507-4144-8052-2D6CF820BBB0}" dt="2019-02-07T09:14:53.490" v="722" actId="207"/>
          <ac:graphicFrameMkLst>
            <pc:docMk/>
            <pc:sldMk cId="2445467899" sldId="354"/>
            <ac:graphicFrameMk id="6" creationId="{E23E960C-DFD2-4B3F-B6E1-AEE2E99ACDBF}"/>
          </ac:graphicFrameMkLst>
        </pc:graphicFrameChg>
      </pc:sldChg>
      <pc:sldChg chg="modSp">
        <pc:chgData name="Alexander Dittmann" userId="128aedbbde34f6fe" providerId="LiveId" clId="{20511A73-F507-4144-8052-2D6CF820BBB0}" dt="2019-02-10T18:00:57.462" v="2196" actId="5793"/>
        <pc:sldMkLst>
          <pc:docMk/>
          <pc:sldMk cId="2274450700" sldId="356"/>
        </pc:sldMkLst>
        <pc:spChg chg="mod">
          <ac:chgData name="Alexander Dittmann" userId="128aedbbde34f6fe" providerId="LiveId" clId="{20511A73-F507-4144-8052-2D6CF820BBB0}" dt="2019-02-10T18:00:57.462" v="2196" actId="5793"/>
          <ac:spMkLst>
            <pc:docMk/>
            <pc:sldMk cId="2274450700" sldId="356"/>
            <ac:spMk id="15" creationId="{E2BF6EAD-F267-C54C-A8A0-D5AF8BC5D433}"/>
          </ac:spMkLst>
        </pc:spChg>
      </pc:sldChg>
      <pc:sldChg chg="addSp delSp modSp add addAnim delAnim">
        <pc:chgData name="Alexander Dittmann" userId="128aedbbde34f6fe" providerId="LiveId" clId="{20511A73-F507-4144-8052-2D6CF820BBB0}" dt="2019-02-09T16:41:30.474" v="1634" actId="113"/>
        <pc:sldMkLst>
          <pc:docMk/>
          <pc:sldMk cId="3032303920" sldId="360"/>
        </pc:sldMkLst>
        <pc:spChg chg="mod">
          <ac:chgData name="Alexander Dittmann" userId="128aedbbde34f6fe" providerId="LiveId" clId="{20511A73-F507-4144-8052-2D6CF820BBB0}" dt="2019-02-09T15:37:27.254" v="936" actId="1076"/>
          <ac:spMkLst>
            <pc:docMk/>
            <pc:sldMk cId="3032303920" sldId="360"/>
            <ac:spMk id="2" creationId="{963B81F2-2CD0-4797-B79A-BCFC4932967C}"/>
          </ac:spMkLst>
        </pc:spChg>
        <pc:spChg chg="add del mod">
          <ac:chgData name="Alexander Dittmann" userId="128aedbbde34f6fe" providerId="LiveId" clId="{20511A73-F507-4144-8052-2D6CF820BBB0}" dt="2019-02-09T15:37:47.988" v="943"/>
          <ac:spMkLst>
            <pc:docMk/>
            <pc:sldMk cId="3032303920" sldId="360"/>
            <ac:spMk id="3" creationId="{EAF87BB8-AF87-4916-B497-FD2C1D7BEF94}"/>
          </ac:spMkLst>
        </pc:spChg>
        <pc:spChg chg="add del mod">
          <ac:chgData name="Alexander Dittmann" userId="128aedbbde34f6fe" providerId="LiveId" clId="{20511A73-F507-4144-8052-2D6CF820BBB0}" dt="2019-02-09T15:37:47.988" v="943"/>
          <ac:spMkLst>
            <pc:docMk/>
            <pc:sldMk cId="3032303920" sldId="360"/>
            <ac:spMk id="4" creationId="{1113679C-8297-41D5-AFE7-BFBF8D3FB32B}"/>
          </ac:spMkLst>
        </pc:spChg>
        <pc:spChg chg="add del mod">
          <ac:chgData name="Alexander Dittmann" userId="128aedbbde34f6fe" providerId="LiveId" clId="{20511A73-F507-4144-8052-2D6CF820BBB0}" dt="2019-02-09T15:37:47.988" v="943"/>
          <ac:spMkLst>
            <pc:docMk/>
            <pc:sldMk cId="3032303920" sldId="360"/>
            <ac:spMk id="8" creationId="{939D698A-D884-4237-B20E-5134F8F2C9CE}"/>
          </ac:spMkLst>
        </pc:spChg>
        <pc:spChg chg="add mod">
          <ac:chgData name="Alexander Dittmann" userId="128aedbbde34f6fe" providerId="LiveId" clId="{20511A73-F507-4144-8052-2D6CF820BBB0}" dt="2019-02-09T16:41:30.474" v="1634" actId="113"/>
          <ac:spMkLst>
            <pc:docMk/>
            <pc:sldMk cId="3032303920" sldId="360"/>
            <ac:spMk id="10" creationId="{0092EFA7-182F-443C-811A-681201175736}"/>
          </ac:spMkLst>
        </pc:spChg>
        <pc:picChg chg="add del">
          <ac:chgData name="Alexander Dittmann" userId="128aedbbde34f6fe" providerId="LiveId" clId="{20511A73-F507-4144-8052-2D6CF820BBB0}" dt="2019-02-09T15:37:42.438" v="941" actId="478"/>
          <ac:picMkLst>
            <pc:docMk/>
            <pc:sldMk cId="3032303920" sldId="360"/>
            <ac:picMk id="5" creationId="{DA6171AA-EB95-4EA4-8ABB-924D1C90FE86}"/>
          </ac:picMkLst>
        </pc:picChg>
        <pc:picChg chg="add del">
          <ac:chgData name="Alexander Dittmann" userId="128aedbbde34f6fe" providerId="LiveId" clId="{20511A73-F507-4144-8052-2D6CF820BBB0}" dt="2019-02-09T15:37:42.438" v="941" actId="478"/>
          <ac:picMkLst>
            <pc:docMk/>
            <pc:sldMk cId="3032303920" sldId="360"/>
            <ac:picMk id="9" creationId="{4DC1A05F-C5AB-4048-9636-E819B8844ACB}"/>
          </ac:picMkLst>
        </pc:picChg>
        <pc:picChg chg="add del">
          <ac:chgData name="Alexander Dittmann" userId="128aedbbde34f6fe" providerId="LiveId" clId="{20511A73-F507-4144-8052-2D6CF820BBB0}" dt="2019-02-09T15:37:42.608" v="942" actId="478"/>
          <ac:picMkLst>
            <pc:docMk/>
            <pc:sldMk cId="3032303920" sldId="360"/>
            <ac:picMk id="16" creationId="{494BC770-ADDD-4402-A0B6-97AF7F10B8DD}"/>
          </ac:picMkLst>
        </pc:picChg>
        <pc:picChg chg="add del">
          <ac:chgData name="Alexander Dittmann" userId="128aedbbde34f6fe" providerId="LiveId" clId="{20511A73-F507-4144-8052-2D6CF820BBB0}" dt="2019-02-09T15:37:42.438" v="941" actId="478"/>
          <ac:picMkLst>
            <pc:docMk/>
            <pc:sldMk cId="3032303920" sldId="360"/>
            <ac:picMk id="17" creationId="{BD4187E8-FFBF-4CF5-9D27-5B0933509648}"/>
          </ac:picMkLst>
        </pc:picChg>
        <pc:cxnChg chg="add del mod">
          <ac:chgData name="Alexander Dittmann" userId="128aedbbde34f6fe" providerId="LiveId" clId="{20511A73-F507-4144-8052-2D6CF820BBB0}" dt="2019-02-09T15:37:42.438" v="941" actId="478"/>
          <ac:cxnSpMkLst>
            <pc:docMk/>
            <pc:sldMk cId="3032303920" sldId="360"/>
            <ac:cxnSpMk id="11" creationId="{C1A52407-2B9F-4D98-9FD3-D3A4803593DB}"/>
          </ac:cxnSpMkLst>
        </pc:cxnChg>
        <pc:cxnChg chg="add del mod">
          <ac:chgData name="Alexander Dittmann" userId="128aedbbde34f6fe" providerId="LiveId" clId="{20511A73-F507-4144-8052-2D6CF820BBB0}" dt="2019-02-09T15:37:42.438" v="941" actId="478"/>
          <ac:cxnSpMkLst>
            <pc:docMk/>
            <pc:sldMk cId="3032303920" sldId="360"/>
            <ac:cxnSpMk id="19" creationId="{3996124C-3B33-4ED4-B006-9FC1899AAB6F}"/>
          </ac:cxnSpMkLst>
        </pc:cxnChg>
      </pc:sldChg>
      <pc:sldChg chg="addSp delSp modSp">
        <pc:chgData name="Alexander Dittmann" userId="128aedbbde34f6fe" providerId="LiveId" clId="{20511A73-F507-4144-8052-2D6CF820BBB0}" dt="2019-02-11T10:26:26.797" v="2210" actId="1076"/>
        <pc:sldMkLst>
          <pc:docMk/>
          <pc:sldMk cId="1802135091" sldId="361"/>
        </pc:sldMkLst>
        <pc:picChg chg="add del">
          <ac:chgData name="Alexander Dittmann" userId="128aedbbde34f6fe" providerId="LiveId" clId="{20511A73-F507-4144-8052-2D6CF820BBB0}" dt="2019-02-10T17:30:51.436" v="2177" actId="478"/>
          <ac:picMkLst>
            <pc:docMk/>
            <pc:sldMk cId="1802135091" sldId="361"/>
            <ac:picMk id="6" creationId="{1FB62549-16D9-49D6-944D-E792044B1AD2}"/>
          </ac:picMkLst>
        </pc:picChg>
        <pc:picChg chg="add mod modCrop">
          <ac:chgData name="Alexander Dittmann" userId="128aedbbde34f6fe" providerId="LiveId" clId="{20511A73-F507-4144-8052-2D6CF820BBB0}" dt="2019-02-11T10:26:26.797" v="2210" actId="1076"/>
          <ac:picMkLst>
            <pc:docMk/>
            <pc:sldMk cId="1802135091" sldId="361"/>
            <ac:picMk id="8" creationId="{756C2429-EBCA-4308-9002-D2D4233E90C8}"/>
          </ac:picMkLst>
        </pc:picChg>
      </pc:sldChg>
      <pc:sldChg chg="addSp delSp modSp add delAnim modAnim">
        <pc:chgData name="Alexander Dittmann" userId="128aedbbde34f6fe" providerId="LiveId" clId="{20511A73-F507-4144-8052-2D6CF820BBB0}" dt="2019-02-13T15:45:49.303" v="3240"/>
        <pc:sldMkLst>
          <pc:docMk/>
          <pc:sldMk cId="2278617104" sldId="374"/>
        </pc:sldMkLst>
        <pc:spChg chg="mod">
          <ac:chgData name="Alexander Dittmann" userId="128aedbbde34f6fe" providerId="LiveId" clId="{20511A73-F507-4144-8052-2D6CF820BBB0}" dt="2019-02-11T11:33:28.838" v="2630" actId="20577"/>
          <ac:spMkLst>
            <pc:docMk/>
            <pc:sldMk cId="2278617104" sldId="374"/>
            <ac:spMk id="2" creationId="{963B81F2-2CD0-4797-B79A-BCFC4932967C}"/>
          </ac:spMkLst>
        </pc:spChg>
        <pc:spChg chg="add mod">
          <ac:chgData name="Alexander Dittmann" userId="128aedbbde34f6fe" providerId="LiveId" clId="{20511A73-F507-4144-8052-2D6CF820BBB0}" dt="2019-02-11T11:33:34.137" v="2631"/>
          <ac:spMkLst>
            <pc:docMk/>
            <pc:sldMk cId="2278617104" sldId="374"/>
            <ac:spMk id="3" creationId="{9DD404D5-0A53-4AA2-BD15-619EA8693961}"/>
          </ac:spMkLst>
        </pc:spChg>
        <pc:spChg chg="mod">
          <ac:chgData name="Alexander Dittmann" userId="128aedbbde34f6fe" providerId="LiveId" clId="{20511A73-F507-4144-8052-2D6CF820BBB0}" dt="2019-02-11T12:08:33.668" v="2825" actId="1038"/>
          <ac:spMkLst>
            <pc:docMk/>
            <pc:sldMk cId="2278617104" sldId="374"/>
            <ac:spMk id="20" creationId="{52C7770B-6E1B-4DF7-88C1-071D711B5AF0}"/>
          </ac:spMkLst>
        </pc:spChg>
        <pc:spChg chg="mod">
          <ac:chgData name="Alexander Dittmann" userId="128aedbbde34f6fe" providerId="LiveId" clId="{20511A73-F507-4144-8052-2D6CF820BBB0}" dt="2019-02-11T12:08:33.668" v="2825" actId="1038"/>
          <ac:spMkLst>
            <pc:docMk/>
            <pc:sldMk cId="2278617104" sldId="374"/>
            <ac:spMk id="21" creationId="{6F5F8817-F1D9-4184-BDEC-7F93480F1965}"/>
          </ac:spMkLst>
        </pc:spChg>
        <pc:spChg chg="del">
          <ac:chgData name="Alexander Dittmann" userId="128aedbbde34f6fe" providerId="LiveId" clId="{20511A73-F507-4144-8052-2D6CF820BBB0}" dt="2019-02-11T11:22:09.780" v="2217" actId="478"/>
          <ac:spMkLst>
            <pc:docMk/>
            <pc:sldMk cId="2278617104" sldId="374"/>
            <ac:spMk id="22" creationId="{4E74DF94-B1CE-4855-B319-50DEADEFC02F}"/>
          </ac:spMkLst>
        </pc:spChg>
        <pc:spChg chg="del">
          <ac:chgData name="Alexander Dittmann" userId="128aedbbde34f6fe" providerId="LiveId" clId="{20511A73-F507-4144-8052-2D6CF820BBB0}" dt="2019-02-11T11:22:09.780" v="2217" actId="478"/>
          <ac:spMkLst>
            <pc:docMk/>
            <pc:sldMk cId="2278617104" sldId="374"/>
            <ac:spMk id="40" creationId="{87818026-DD81-4147-923E-B3D01AE96BCB}"/>
          </ac:spMkLst>
        </pc:spChg>
        <pc:spChg chg="mod">
          <ac:chgData name="Alexander Dittmann" userId="128aedbbde34f6fe" providerId="LiveId" clId="{20511A73-F507-4144-8052-2D6CF820BBB0}" dt="2019-02-12T11:15:32.065" v="3161" actId="20577"/>
          <ac:spMkLst>
            <pc:docMk/>
            <pc:sldMk cId="2278617104" sldId="374"/>
            <ac:spMk id="54" creationId="{1DA7F965-1E51-42B6-ADAC-F53540C47A55}"/>
          </ac:spMkLst>
        </pc:spChg>
        <pc:spChg chg="mod">
          <ac:chgData name="Alexander Dittmann" userId="128aedbbde34f6fe" providerId="LiveId" clId="{20511A73-F507-4144-8052-2D6CF820BBB0}" dt="2019-02-12T11:15:20.150" v="3149"/>
          <ac:spMkLst>
            <pc:docMk/>
            <pc:sldMk cId="2278617104" sldId="374"/>
            <ac:spMk id="55" creationId="{1BA39965-DCB5-41DA-BBA8-7DAB9EA7C0AC}"/>
          </ac:spMkLst>
        </pc:spChg>
        <pc:spChg chg="del">
          <ac:chgData name="Alexander Dittmann" userId="128aedbbde34f6fe" providerId="LiveId" clId="{20511A73-F507-4144-8052-2D6CF820BBB0}" dt="2019-02-11T11:22:09.780" v="2217" actId="478"/>
          <ac:spMkLst>
            <pc:docMk/>
            <pc:sldMk cId="2278617104" sldId="374"/>
            <ac:spMk id="57" creationId="{F5FB3C6E-DAAD-4F06-9B1B-21AE30892DDA}"/>
          </ac:spMkLst>
        </pc:spChg>
        <pc:spChg chg="del mod">
          <ac:chgData name="Alexander Dittmann" userId="128aedbbde34f6fe" providerId="LiveId" clId="{20511A73-F507-4144-8052-2D6CF820BBB0}" dt="2019-02-11T11:23:48.833" v="2251" actId="478"/>
          <ac:spMkLst>
            <pc:docMk/>
            <pc:sldMk cId="2278617104" sldId="374"/>
            <ac:spMk id="58" creationId="{67A0776E-35B8-4002-88C2-6D7D7198BE77}"/>
          </ac:spMkLst>
        </pc:sp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5" creationId="{DA6171AA-EB95-4EA4-8ABB-924D1C90FE86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9" creationId="{4DC1A05F-C5AB-4048-9636-E819B8844ACB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16" creationId="{494BC770-ADDD-4402-A0B6-97AF7F10B8DD}"/>
          </ac:picMkLst>
        </pc:picChg>
        <pc:picChg chg="mod">
          <ac:chgData name="Alexander Dittmann" userId="128aedbbde34f6fe" providerId="LiveId" clId="{20511A73-F507-4144-8052-2D6CF820BBB0}" dt="2019-02-12T10:39:31.671" v="3015" actId="1076"/>
          <ac:picMkLst>
            <pc:docMk/>
            <pc:sldMk cId="2278617104" sldId="374"/>
            <ac:picMk id="23" creationId="{47FDC432-F45D-489F-AF80-6C74E01083F1}"/>
          </ac:picMkLst>
        </pc:picChg>
        <pc:picChg chg="mod">
          <ac:chgData name="Alexander Dittmann" userId="128aedbbde34f6fe" providerId="LiveId" clId="{20511A73-F507-4144-8052-2D6CF820BBB0}" dt="2019-02-12T10:39:31.671" v="3015" actId="1076"/>
          <ac:picMkLst>
            <pc:docMk/>
            <pc:sldMk cId="2278617104" sldId="374"/>
            <ac:picMk id="24" creationId="{380BD970-52BD-4556-A01B-B7B6F52A0DDB}"/>
          </ac:picMkLst>
        </pc:picChg>
        <pc:picChg chg="mod">
          <ac:chgData name="Alexander Dittmann" userId="128aedbbde34f6fe" providerId="LiveId" clId="{20511A73-F507-4144-8052-2D6CF820BBB0}" dt="2019-02-12T10:39:31.671" v="3015" actId="1076"/>
          <ac:picMkLst>
            <pc:docMk/>
            <pc:sldMk cId="2278617104" sldId="374"/>
            <ac:picMk id="26" creationId="{745EE2FE-7886-4071-B830-93792B694F2E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30" creationId="{EABF9B33-E342-D94A-8E0E-D6C3F2CC3CB7}"/>
          </ac:picMkLst>
        </pc:picChg>
        <pc:picChg chg="mod">
          <ac:chgData name="Alexander Dittmann" userId="128aedbbde34f6fe" providerId="LiveId" clId="{20511A73-F507-4144-8052-2D6CF820BBB0}" dt="2019-02-12T10:39:31.671" v="3015" actId="1076"/>
          <ac:picMkLst>
            <pc:docMk/>
            <pc:sldMk cId="2278617104" sldId="374"/>
            <ac:picMk id="31" creationId="{891AA11F-4C77-4D9B-93E5-6C2BF51BB69F}"/>
          </ac:picMkLst>
        </pc:picChg>
        <pc:picChg chg="mod">
          <ac:chgData name="Alexander Dittmann" userId="128aedbbde34f6fe" providerId="LiveId" clId="{20511A73-F507-4144-8052-2D6CF820BBB0}" dt="2019-02-12T10:39:31.671" v="3015" actId="1076"/>
          <ac:picMkLst>
            <pc:docMk/>
            <pc:sldMk cId="2278617104" sldId="374"/>
            <ac:picMk id="33" creationId="{C73CAFB2-B574-4CB5-AC3E-95C5941F46FD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35" creationId="{DBF00A91-304C-5C4E-9972-B4F03C645DDA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36" creationId="{49A57979-3F54-A54D-8A7A-CA8F73E32903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38" creationId="{A4588815-2E53-B947-B1E8-328C9759F2E2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42" creationId="{BF99BBCB-58E6-884B-A2A8-0AF4AEA8AFF6}"/>
          </ac:picMkLst>
        </pc:picChg>
        <pc:picChg chg="del">
          <ac:chgData name="Alexander Dittmann" userId="128aedbbde34f6fe" providerId="LiveId" clId="{20511A73-F507-4144-8052-2D6CF820BBB0}" dt="2019-02-11T11:22:09.780" v="2217" actId="478"/>
          <ac:picMkLst>
            <pc:docMk/>
            <pc:sldMk cId="2278617104" sldId="374"/>
            <ac:picMk id="53" creationId="{A1BDE778-66F4-F046-AAAC-F88F9C076E05}"/>
          </ac:picMkLst>
        </pc:picChg>
        <pc:picChg chg="del mod">
          <ac:chgData name="Alexander Dittmann" userId="128aedbbde34f6fe" providerId="LiveId" clId="{20511A73-F507-4144-8052-2D6CF820BBB0}" dt="2019-02-12T10:39:16.352" v="3013" actId="478"/>
          <ac:picMkLst>
            <pc:docMk/>
            <pc:sldMk cId="2278617104" sldId="374"/>
            <ac:picMk id="62" creationId="{73EE17B2-218C-4594-A8BD-600B7A34AC59}"/>
          </ac:picMkLst>
        </pc:picChg>
        <pc:picChg chg="del mod">
          <ac:chgData name="Alexander Dittmann" userId="128aedbbde34f6fe" providerId="LiveId" clId="{20511A73-F507-4144-8052-2D6CF820BBB0}" dt="2019-02-12T10:39:16.352" v="3013" actId="478"/>
          <ac:picMkLst>
            <pc:docMk/>
            <pc:sldMk cId="2278617104" sldId="374"/>
            <ac:picMk id="63" creationId="{BC660B7D-3772-4350-8E93-98646556ADD1}"/>
          </ac:picMkLst>
        </pc:picChg>
        <pc:picChg chg="del mod">
          <ac:chgData name="Alexander Dittmann" userId="128aedbbde34f6fe" providerId="LiveId" clId="{20511A73-F507-4144-8052-2D6CF820BBB0}" dt="2019-02-12T10:39:18.713" v="3014" actId="478"/>
          <ac:picMkLst>
            <pc:docMk/>
            <pc:sldMk cId="2278617104" sldId="374"/>
            <ac:picMk id="65" creationId="{5C9F6631-1A39-446A-8C3C-60D60F4110EA}"/>
          </ac:picMkLst>
        </pc:picChg>
        <pc:picChg chg="del mod">
          <ac:chgData name="Alexander Dittmann" userId="128aedbbde34f6fe" providerId="LiveId" clId="{20511A73-F507-4144-8052-2D6CF820BBB0}" dt="2019-02-12T10:39:16.352" v="3013" actId="478"/>
          <ac:picMkLst>
            <pc:docMk/>
            <pc:sldMk cId="2278617104" sldId="374"/>
            <ac:picMk id="67" creationId="{9E4682A5-707A-4E64-9A63-7F7CDD0BA3E2}"/>
          </ac:picMkLst>
        </pc:picChg>
        <pc:picChg chg="del mod">
          <ac:chgData name="Alexander Dittmann" userId="128aedbbde34f6fe" providerId="LiveId" clId="{20511A73-F507-4144-8052-2D6CF820BBB0}" dt="2019-02-12T10:39:16.352" v="3013" actId="478"/>
          <ac:picMkLst>
            <pc:docMk/>
            <pc:sldMk cId="2278617104" sldId="374"/>
            <ac:picMk id="68" creationId="{C63C6EDD-B97E-4044-9659-B4BE97B67250}"/>
          </ac:picMkLst>
        </pc:picChg>
        <pc:cxnChg chg="del mod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11" creationId="{C1A52407-2B9F-4D98-9FD3-D3A4803593DB}"/>
          </ac:cxnSpMkLst>
        </pc:cxnChg>
        <pc:cxnChg chg="del mod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12" creationId="{06902DF9-DBDC-7A4A-A899-C84FB2EB95A5}"/>
          </ac:cxnSpMkLst>
        </pc:cxnChg>
        <pc:cxnChg chg="del mod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15" creationId="{AFB59487-BA11-064F-B0AD-BEA4CE2C755E}"/>
          </ac:cxnSpMkLst>
        </pc:cxnChg>
        <pc:cxnChg chg="del mod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19" creationId="{3996124C-3B33-4ED4-B006-9FC1899AAB6F}"/>
          </ac:cxnSpMkLst>
        </pc:cxnChg>
        <pc:cxnChg chg="mod">
          <ac:chgData name="Alexander Dittmann" userId="128aedbbde34f6fe" providerId="LiveId" clId="{20511A73-F507-4144-8052-2D6CF820BBB0}" dt="2019-02-12T11:19:51.897" v="3194" actId="208"/>
          <ac:cxnSpMkLst>
            <pc:docMk/>
            <pc:sldMk cId="2278617104" sldId="374"/>
            <ac:cxnSpMk id="25" creationId="{02FEE914-4914-40AA-B710-513EF86F333C}"/>
          </ac:cxnSpMkLst>
        </pc:cxnChg>
        <pc:cxnChg chg="mod">
          <ac:chgData name="Alexander Dittmann" userId="128aedbbde34f6fe" providerId="LiveId" clId="{20511A73-F507-4144-8052-2D6CF820BBB0}" dt="2019-02-12T10:39:31.671" v="3015" actId="1076"/>
          <ac:cxnSpMkLst>
            <pc:docMk/>
            <pc:sldMk cId="2278617104" sldId="374"/>
            <ac:cxnSpMk id="28" creationId="{59268FC1-B2DF-4A25-8E7D-48BED96A08A6}"/>
          </ac:cxnSpMkLst>
        </pc:cxnChg>
        <pc:cxnChg chg="del mod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37" creationId="{F04ADECD-1E7E-E446-9F0A-D6A66BAE3BE0}"/>
          </ac:cxnSpMkLst>
        </pc:cxnChg>
        <pc:cxnChg chg="del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39" creationId="{8FBD370F-5485-3B48-A99A-6E8EBA41401B}"/>
          </ac:cxnSpMkLst>
        </pc:cxnChg>
        <pc:cxnChg chg="del mod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41" creationId="{BB67ED22-D5E2-274B-9B3E-31B07EE3AB1A}"/>
          </ac:cxnSpMkLst>
        </pc:cxnChg>
        <pc:cxnChg chg="mod">
          <ac:chgData name="Alexander Dittmann" userId="128aedbbde34f6fe" providerId="LiveId" clId="{20511A73-F507-4144-8052-2D6CF820BBB0}" dt="2019-02-12T11:15:47.845" v="3162" actId="208"/>
          <ac:cxnSpMkLst>
            <pc:docMk/>
            <pc:sldMk cId="2278617104" sldId="374"/>
            <ac:cxnSpMk id="43" creationId="{49A243E4-6C67-4017-895C-5E71BF39B6C6}"/>
          </ac:cxnSpMkLst>
        </pc:cxnChg>
        <pc:cxnChg chg="mod">
          <ac:chgData name="Alexander Dittmann" userId="128aedbbde34f6fe" providerId="LiveId" clId="{20511A73-F507-4144-8052-2D6CF820BBB0}" dt="2019-02-12T10:37:38.830" v="3009" actId="693"/>
          <ac:cxnSpMkLst>
            <pc:docMk/>
            <pc:sldMk cId="2278617104" sldId="374"/>
            <ac:cxnSpMk id="44" creationId="{C74C2F7E-9704-4D60-95B9-F9217CCFD2A4}"/>
          </ac:cxnSpMkLst>
        </pc:cxnChg>
        <pc:cxnChg chg="del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46" creationId="{74B33F45-7C99-1443-8FA5-5E973AA997AC}"/>
          </ac:cxnSpMkLst>
        </pc:cxnChg>
        <pc:cxnChg chg="mod">
          <ac:chgData name="Alexander Dittmann" userId="128aedbbde34f6fe" providerId="LiveId" clId="{20511A73-F507-4144-8052-2D6CF820BBB0}" dt="2019-02-11T12:08:33.668" v="2825" actId="1038"/>
          <ac:cxnSpMkLst>
            <pc:docMk/>
            <pc:sldMk cId="2278617104" sldId="374"/>
            <ac:cxnSpMk id="48" creationId="{40A28DEC-F773-42CB-85FB-86080D0E4EF2}"/>
          </ac:cxnSpMkLst>
        </pc:cxnChg>
        <pc:cxnChg chg="mod">
          <ac:chgData name="Alexander Dittmann" userId="128aedbbde34f6fe" providerId="LiveId" clId="{20511A73-F507-4144-8052-2D6CF820BBB0}" dt="2019-02-12T11:19:43.590" v="3193" actId="208"/>
          <ac:cxnSpMkLst>
            <pc:docMk/>
            <pc:sldMk cId="2278617104" sldId="374"/>
            <ac:cxnSpMk id="51" creationId="{2CAD64B3-2424-4CA1-B929-0A05B3792AC2}"/>
          </ac:cxnSpMkLst>
        </pc:cxnChg>
        <pc:cxnChg chg="add del mod">
          <ac:chgData name="Alexander Dittmann" userId="128aedbbde34f6fe" providerId="LiveId" clId="{20511A73-F507-4144-8052-2D6CF820BBB0}" dt="2019-02-11T11:47:10.221" v="2733" actId="478"/>
          <ac:cxnSpMkLst>
            <pc:docMk/>
            <pc:sldMk cId="2278617104" sldId="374"/>
            <ac:cxnSpMk id="52" creationId="{711468B7-92C2-4D09-9354-27F0301E4A45}"/>
          </ac:cxnSpMkLst>
        </pc:cxnChg>
        <pc:cxnChg chg="del">
          <ac:chgData name="Alexander Dittmann" userId="128aedbbde34f6fe" providerId="LiveId" clId="{20511A73-F507-4144-8052-2D6CF820BBB0}" dt="2019-02-11T11:22:09.780" v="2217" actId="478"/>
          <ac:cxnSpMkLst>
            <pc:docMk/>
            <pc:sldMk cId="2278617104" sldId="374"/>
            <ac:cxnSpMk id="56" creationId="{61A11CB1-A49B-EF46-AED4-0BE7D12F36F0}"/>
          </ac:cxnSpMkLst>
        </pc:cxnChg>
        <pc:cxnChg chg="del mod">
          <ac:chgData name="Alexander Dittmann" userId="128aedbbde34f6fe" providerId="LiveId" clId="{20511A73-F507-4144-8052-2D6CF820BBB0}" dt="2019-02-12T10:39:16.352" v="3013" actId="478"/>
          <ac:cxnSpMkLst>
            <pc:docMk/>
            <pc:sldMk cId="2278617104" sldId="374"/>
            <ac:cxnSpMk id="64" creationId="{53F80834-7520-4C3E-87C2-6E36A05704C1}"/>
          </ac:cxnSpMkLst>
        </pc:cxnChg>
        <pc:cxnChg chg="del mod">
          <ac:chgData name="Alexander Dittmann" userId="128aedbbde34f6fe" providerId="LiveId" clId="{20511A73-F507-4144-8052-2D6CF820BBB0}" dt="2019-02-12T10:39:16.352" v="3013" actId="478"/>
          <ac:cxnSpMkLst>
            <pc:docMk/>
            <pc:sldMk cId="2278617104" sldId="374"/>
            <ac:cxnSpMk id="66" creationId="{D9385BA3-C6F4-4B1E-8772-F112B3671DF8}"/>
          </ac:cxnSpMkLst>
        </pc:cxnChg>
        <pc:cxnChg chg="del mod">
          <ac:chgData name="Alexander Dittmann" userId="128aedbbde34f6fe" providerId="LiveId" clId="{20511A73-F507-4144-8052-2D6CF820BBB0}" dt="2019-02-12T10:39:16.352" v="3013" actId="478"/>
          <ac:cxnSpMkLst>
            <pc:docMk/>
            <pc:sldMk cId="2278617104" sldId="374"/>
            <ac:cxnSpMk id="69" creationId="{816F46E7-1894-4B9E-AAAE-1C4612D1AAC4}"/>
          </ac:cxnSpMkLst>
        </pc:cxnChg>
        <pc:cxnChg chg="del mod ord">
          <ac:chgData name="Alexander Dittmann" userId="128aedbbde34f6fe" providerId="LiveId" clId="{20511A73-F507-4144-8052-2D6CF820BBB0}" dt="2019-02-12T10:39:16.352" v="3013" actId="478"/>
          <ac:cxnSpMkLst>
            <pc:docMk/>
            <pc:sldMk cId="2278617104" sldId="374"/>
            <ac:cxnSpMk id="70" creationId="{AFA8BA71-29B0-46F3-B10A-29F01E8790BC}"/>
          </ac:cxnSpMkLst>
        </pc:cxnChg>
      </pc:sldChg>
      <pc:sldChg chg="addSp delSp modSp add modAnim">
        <pc:chgData name="Alexander Dittmann" userId="128aedbbde34f6fe" providerId="LiveId" clId="{20511A73-F507-4144-8052-2D6CF820BBB0}" dt="2019-02-13T19:32:58.099" v="3256" actId="20577"/>
        <pc:sldMkLst>
          <pc:docMk/>
          <pc:sldMk cId="3985302116" sldId="377"/>
        </pc:sldMkLst>
        <pc:spChg chg="mod">
          <ac:chgData name="Alexander Dittmann" userId="128aedbbde34f6fe" providerId="LiveId" clId="{20511A73-F507-4144-8052-2D6CF820BBB0}" dt="2019-02-13T19:32:58.099" v="3256" actId="20577"/>
          <ac:spMkLst>
            <pc:docMk/>
            <pc:sldMk cId="3985302116" sldId="377"/>
            <ac:spMk id="4" creationId="{99B2AB4D-9161-4DE5-A8A7-8F96650A1DCD}"/>
          </ac:spMkLst>
        </pc:spChg>
        <pc:spChg chg="mod">
          <ac:chgData name="Alexander Dittmann" userId="128aedbbde34f6fe" providerId="LiveId" clId="{20511A73-F507-4144-8052-2D6CF820BBB0}" dt="2019-02-12T11:14:10.150" v="3109" actId="20577"/>
          <ac:spMkLst>
            <pc:docMk/>
            <pc:sldMk cId="3985302116" sldId="377"/>
            <ac:spMk id="22" creationId="{4E74DF94-B1CE-4855-B319-50DEADEFC02F}"/>
          </ac:spMkLst>
        </pc:spChg>
        <pc:spChg chg="mod">
          <ac:chgData name="Alexander Dittmann" userId="128aedbbde34f6fe" providerId="LiveId" clId="{20511A73-F507-4144-8052-2D6CF820BBB0}" dt="2019-02-12T11:14:56.770" v="3147" actId="20577"/>
          <ac:spMkLst>
            <pc:docMk/>
            <pc:sldMk cId="3985302116" sldId="377"/>
            <ac:spMk id="78" creationId="{109D417C-9141-4252-8D11-DDA48EBCD399}"/>
          </ac:spMkLst>
        </pc:spChg>
        <pc:spChg chg="mod">
          <ac:chgData name="Alexander Dittmann" userId="128aedbbde34f6fe" providerId="LiveId" clId="{20511A73-F507-4144-8052-2D6CF820BBB0}" dt="2019-02-12T11:15:13.938" v="3148" actId="20577"/>
          <ac:spMkLst>
            <pc:docMk/>
            <pc:sldMk cId="3985302116" sldId="377"/>
            <ac:spMk id="79" creationId="{1C30BE43-2686-4D70-9749-210B8555D0B6}"/>
          </ac:spMkLst>
        </pc:spChg>
        <pc:cxnChg chg="mod">
          <ac:chgData name="Alexander Dittmann" userId="128aedbbde34f6fe" providerId="LiveId" clId="{20511A73-F507-4144-8052-2D6CF820BBB0}" dt="2019-02-12T10:18:51.728" v="2911" actId="208"/>
          <ac:cxnSpMkLst>
            <pc:docMk/>
            <pc:sldMk cId="3985302116" sldId="377"/>
            <ac:cxnSpMk id="11" creationId="{C1A52407-2B9F-4D98-9FD3-D3A4803593DB}"/>
          </ac:cxnSpMkLst>
        </pc:cxnChg>
        <pc:cxnChg chg="mod">
          <ac:chgData name="Alexander Dittmann" userId="128aedbbde34f6fe" providerId="LiveId" clId="{20511A73-F507-4144-8052-2D6CF820BBB0}" dt="2019-02-12T10:40:50.546" v="3019" actId="208"/>
          <ac:cxnSpMkLst>
            <pc:docMk/>
            <pc:sldMk cId="3985302116" sldId="377"/>
            <ac:cxnSpMk id="12" creationId="{06902DF9-DBDC-7A4A-A899-C84FB2EB95A5}"/>
          </ac:cxnSpMkLst>
        </pc:cxnChg>
        <pc:cxnChg chg="mod ord">
          <ac:chgData name="Alexander Dittmann" userId="128aedbbde34f6fe" providerId="LiveId" clId="{20511A73-F507-4144-8052-2D6CF820BBB0}" dt="2019-02-12T11:05:25.286" v="3058" actId="208"/>
          <ac:cxnSpMkLst>
            <pc:docMk/>
            <pc:sldMk cId="3985302116" sldId="377"/>
            <ac:cxnSpMk id="15" creationId="{AFB59487-BA11-064F-B0AD-BEA4CE2C755E}"/>
          </ac:cxnSpMkLst>
        </pc:cxnChg>
        <pc:cxnChg chg="mod">
          <ac:chgData name="Alexander Dittmann" userId="128aedbbde34f6fe" providerId="LiveId" clId="{20511A73-F507-4144-8052-2D6CF820BBB0}" dt="2019-02-11T12:30:05.748" v="2844" actId="208"/>
          <ac:cxnSpMkLst>
            <pc:docMk/>
            <pc:sldMk cId="3985302116" sldId="377"/>
            <ac:cxnSpMk id="37" creationId="{F04ADECD-1E7E-E446-9F0A-D6A66BAE3BE0}"/>
          </ac:cxnSpMkLst>
        </pc:cxnChg>
        <pc:cxnChg chg="mod ord">
          <ac:chgData name="Alexander Dittmann" userId="128aedbbde34f6fe" providerId="LiveId" clId="{20511A73-F507-4144-8052-2D6CF820BBB0}" dt="2019-02-12T11:00:37.244" v="3020" actId="208"/>
          <ac:cxnSpMkLst>
            <pc:docMk/>
            <pc:sldMk cId="3985302116" sldId="377"/>
            <ac:cxnSpMk id="41" creationId="{BB67ED22-D5E2-274B-9B3E-31B07EE3AB1A}"/>
          </ac:cxnSpMkLst>
        </pc:cxnChg>
        <pc:cxnChg chg="del mod">
          <ac:chgData name="Alexander Dittmann" userId="128aedbbde34f6fe" providerId="LiveId" clId="{20511A73-F507-4144-8052-2D6CF820BBB0}" dt="2019-02-12T10:26:35.333" v="2937" actId="478"/>
          <ac:cxnSpMkLst>
            <pc:docMk/>
            <pc:sldMk cId="3985302116" sldId="377"/>
            <ac:cxnSpMk id="46" creationId="{74B33F45-7C99-1443-8FA5-5E973AA997AC}"/>
          </ac:cxnSpMkLst>
        </pc:cxnChg>
        <pc:cxnChg chg="add del mod">
          <ac:chgData name="Alexander Dittmann" userId="128aedbbde34f6fe" providerId="LiveId" clId="{20511A73-F507-4144-8052-2D6CF820BBB0}" dt="2019-02-12T10:31:23.171" v="2943" actId="478"/>
          <ac:cxnSpMkLst>
            <pc:docMk/>
            <pc:sldMk cId="3985302116" sldId="377"/>
            <ac:cxnSpMk id="56" creationId="{61A11CB1-A49B-EF46-AED4-0BE7D12F36F0}"/>
          </ac:cxnSpMkLst>
        </pc:cxnChg>
      </pc:sldChg>
    </pc:docChg>
  </pc:docChgLst>
  <pc:docChgLst>
    <pc:chgData name="Domenic Bosin" userId="f27d954ac5aa4257" providerId="Windows Live" clId="Web-{C0C453C2-74B1-447E-B742-AA77EFD279A7}"/>
  </pc:docChgLst>
  <pc:docChgLst>
    <pc:chgData name="Alexander Dittmann" userId="128aedbbde34f6fe" providerId="LiveId" clId="{1E4C730F-D781-4A3A-8576-4956AA38B58F}"/>
  </pc:docChgLst>
  <pc:docChgLst>
    <pc:chgData name="Marius Möck" userId="2d5fa6978198d51d" providerId="LiveId" clId="{5548CFF8-41E1-4A71-896B-BF070F887207}"/>
    <pc:docChg chg="undo custSel addSld delSld modSld sldOrd modSection">
      <pc:chgData name="Marius Möck" userId="2d5fa6978198d51d" providerId="LiveId" clId="{5548CFF8-41E1-4A71-896B-BF070F887207}" dt="2019-02-15T08:21:48.942" v="1448" actId="20577"/>
      <pc:docMkLst>
        <pc:docMk/>
      </pc:docMkLst>
      <pc:sldChg chg="modSp">
        <pc:chgData name="Marius Möck" userId="2d5fa6978198d51d" providerId="LiveId" clId="{5548CFF8-41E1-4A71-896B-BF070F887207}" dt="2019-02-15T08:21:48.942" v="1448" actId="20577"/>
        <pc:sldMkLst>
          <pc:docMk/>
          <pc:sldMk cId="1873300366" sldId="256"/>
        </pc:sldMkLst>
        <pc:spChg chg="mod">
          <ac:chgData name="Marius Möck" userId="2d5fa6978198d51d" providerId="LiveId" clId="{5548CFF8-41E1-4A71-896B-BF070F887207}" dt="2019-02-15T08:21:48.942" v="1448" actId="20577"/>
          <ac:spMkLst>
            <pc:docMk/>
            <pc:sldMk cId="1873300366" sldId="256"/>
            <ac:spMk id="2" creationId="{A699E6C2-5E67-4168-A128-015C823CC5C8}"/>
          </ac:spMkLst>
        </pc:spChg>
      </pc:sldChg>
      <pc:sldChg chg="addSp delSp modSp add">
        <pc:chgData name="Marius Möck" userId="2d5fa6978198d51d" providerId="LiveId" clId="{5548CFF8-41E1-4A71-896B-BF070F887207}" dt="2019-02-05T12:40:59.165" v="1059" actId="1076"/>
        <pc:sldMkLst>
          <pc:docMk/>
          <pc:sldMk cId="2913239789" sldId="319"/>
        </pc:sldMkLst>
        <pc:spChg chg="mod">
          <ac:chgData name="Marius Möck" userId="2d5fa6978198d51d" providerId="LiveId" clId="{5548CFF8-41E1-4A71-896B-BF070F887207}" dt="2019-01-29T16:20:15.412" v="73" actId="1037"/>
          <ac:spMkLst>
            <pc:docMk/>
            <pc:sldMk cId="2913239789" sldId="319"/>
            <ac:spMk id="7" creationId="{6FCF179E-01C8-4E7E-82FE-8B1AE05AC8BC}"/>
          </ac:spMkLst>
        </pc:spChg>
        <pc:spChg chg="mod">
          <ac:chgData name="Marius Möck" userId="2d5fa6978198d51d" providerId="LiveId" clId="{5548CFF8-41E1-4A71-896B-BF070F887207}" dt="2019-01-29T16:20:15.412" v="73" actId="1037"/>
          <ac:spMkLst>
            <pc:docMk/>
            <pc:sldMk cId="2913239789" sldId="319"/>
            <ac:spMk id="8" creationId="{71A3B7E1-6898-4B45-94BD-666605C08FC2}"/>
          </ac:spMkLst>
        </pc:spChg>
        <pc:spChg chg="mod">
          <ac:chgData name="Marius Möck" userId="2d5fa6978198d51d" providerId="LiveId" clId="{5548CFF8-41E1-4A71-896B-BF070F887207}" dt="2019-01-29T16:20:15.412" v="73" actId="1037"/>
          <ac:spMkLst>
            <pc:docMk/>
            <pc:sldMk cId="2913239789" sldId="319"/>
            <ac:spMk id="9" creationId="{BBC21FAD-3814-40BB-ABF5-9B83097F7059}"/>
          </ac:spMkLst>
        </pc:spChg>
        <pc:spChg chg="mod">
          <ac:chgData name="Marius Möck" userId="2d5fa6978198d51d" providerId="LiveId" clId="{5548CFF8-41E1-4A71-896B-BF070F887207}" dt="2019-02-05T12:39:32.366" v="1053" actId="207"/>
          <ac:spMkLst>
            <pc:docMk/>
            <pc:sldMk cId="2913239789" sldId="319"/>
            <ac:spMk id="13" creationId="{CE3FD54A-3259-4E04-9482-FB6D40E8D3D3}"/>
          </ac:spMkLst>
        </pc:spChg>
        <pc:spChg chg="mod">
          <ac:chgData name="Marius Möck" userId="2d5fa6978198d51d" providerId="LiveId" clId="{5548CFF8-41E1-4A71-896B-BF070F887207}" dt="2019-01-29T16:20:35.718" v="76" actId="14100"/>
          <ac:spMkLst>
            <pc:docMk/>
            <pc:sldMk cId="2913239789" sldId="319"/>
            <ac:spMk id="14" creationId="{D39BEDCF-FC28-4260-84BA-77BB4F53F6C4}"/>
          </ac:spMkLst>
        </pc:spChg>
        <pc:spChg chg="add mod">
          <ac:chgData name="Marius Möck" userId="2d5fa6978198d51d" providerId="LiveId" clId="{5548CFF8-41E1-4A71-896B-BF070F887207}" dt="2019-01-29T16:26:59.134" v="115" actId="1076"/>
          <ac:spMkLst>
            <pc:docMk/>
            <pc:sldMk cId="2913239789" sldId="319"/>
            <ac:spMk id="17" creationId="{28A5B47C-6100-47DC-9558-F2165EE9395E}"/>
          </ac:spMkLst>
        </pc:spChg>
        <pc:spChg chg="add mod ord">
          <ac:chgData name="Marius Möck" userId="2d5fa6978198d51d" providerId="LiveId" clId="{5548CFF8-41E1-4A71-896B-BF070F887207}" dt="2019-02-05T12:40:59.165" v="1059" actId="1076"/>
          <ac:spMkLst>
            <pc:docMk/>
            <pc:sldMk cId="2913239789" sldId="319"/>
            <ac:spMk id="26" creationId="{7D8C86AF-19FD-4D37-B9DE-D5087024C4CE}"/>
          </ac:spMkLst>
        </pc:spChg>
        <pc:spChg chg="del">
          <ac:chgData name="Marius Möck" userId="2d5fa6978198d51d" providerId="LiveId" clId="{5548CFF8-41E1-4A71-896B-BF070F887207}" dt="2019-01-29T16:17:35.664" v="22" actId="478"/>
          <ac:spMkLst>
            <pc:docMk/>
            <pc:sldMk cId="2913239789" sldId="319"/>
            <ac:spMk id="125" creationId="{414C7F1C-38AD-42B2-8D5F-F8B874DA52DA}"/>
          </ac:spMkLst>
        </pc:spChg>
        <pc:spChg chg="del">
          <ac:chgData name="Marius Möck" userId="2d5fa6978198d51d" providerId="LiveId" clId="{5548CFF8-41E1-4A71-896B-BF070F887207}" dt="2019-01-29T16:17:35.664" v="22" actId="478"/>
          <ac:spMkLst>
            <pc:docMk/>
            <pc:sldMk cId="2913239789" sldId="319"/>
            <ac:spMk id="127" creationId="{F46A1BE3-5A18-49BA-97F8-383B9419EB0D}"/>
          </ac:spMkLst>
        </pc:spChg>
        <pc:spChg chg="del">
          <ac:chgData name="Marius Möck" userId="2d5fa6978198d51d" providerId="LiveId" clId="{5548CFF8-41E1-4A71-896B-BF070F887207}" dt="2019-01-29T16:17:40.703" v="24" actId="478"/>
          <ac:spMkLst>
            <pc:docMk/>
            <pc:sldMk cId="2913239789" sldId="319"/>
            <ac:spMk id="129" creationId="{3B784D9B-2F42-4C20-9591-F880A90930F5}"/>
          </ac:spMkLst>
        </pc:spChg>
        <pc:spChg chg="del">
          <ac:chgData name="Marius Möck" userId="2d5fa6978198d51d" providerId="LiveId" clId="{5548CFF8-41E1-4A71-896B-BF070F887207}" dt="2019-01-29T16:17:35.664" v="22" actId="478"/>
          <ac:spMkLst>
            <pc:docMk/>
            <pc:sldMk cId="2913239789" sldId="319"/>
            <ac:spMk id="131" creationId="{B4B49BD4-85AD-4185-B7E2-179B0E9277D7}"/>
          </ac:spMkLst>
        </pc:spChg>
        <pc:spChg chg="del">
          <ac:chgData name="Marius Möck" userId="2d5fa6978198d51d" providerId="LiveId" clId="{5548CFF8-41E1-4A71-896B-BF070F887207}" dt="2019-01-29T16:17:40.703" v="24" actId="478"/>
          <ac:spMkLst>
            <pc:docMk/>
            <pc:sldMk cId="2913239789" sldId="319"/>
            <ac:spMk id="133" creationId="{4AF4D0E2-9C06-4BE9-BB7F-0A595D0B9972}"/>
          </ac:spMkLst>
        </pc:spChg>
        <pc:spChg chg="del">
          <ac:chgData name="Marius Möck" userId="2d5fa6978198d51d" providerId="LiveId" clId="{5548CFF8-41E1-4A71-896B-BF070F887207}" dt="2019-01-29T16:17:41.390" v="25" actId="478"/>
          <ac:spMkLst>
            <pc:docMk/>
            <pc:sldMk cId="2913239789" sldId="319"/>
            <ac:spMk id="135" creationId="{8504D70F-0D0C-4F0D-87F4-540C56B93BA5}"/>
          </ac:spMkLst>
        </pc:spChg>
        <pc:spChg chg="mod">
          <ac:chgData name="Marius Möck" userId="2d5fa6978198d51d" providerId="LiveId" clId="{5548CFF8-41E1-4A71-896B-BF070F887207}" dt="2019-01-29T16:26:36.506" v="111" actId="1076"/>
          <ac:spMkLst>
            <pc:docMk/>
            <pc:sldMk cId="2913239789" sldId="319"/>
            <ac:spMk id="199" creationId="{684379B2-43B8-4908-939C-4D0A665C6FD4}"/>
          </ac:spMkLst>
        </pc:spChg>
        <pc:spChg chg="mod">
          <ac:chgData name="Marius Möck" userId="2d5fa6978198d51d" providerId="LiveId" clId="{5548CFF8-41E1-4A71-896B-BF070F887207}" dt="2019-01-29T16:26:38.086" v="112" actId="1076"/>
          <ac:spMkLst>
            <pc:docMk/>
            <pc:sldMk cId="2913239789" sldId="319"/>
            <ac:spMk id="202" creationId="{FF106644-CCCB-4F42-A48D-8DFC2BE19FBF}"/>
          </ac:spMkLst>
        </pc:spChg>
        <pc:spChg chg="mod">
          <ac:chgData name="Marius Möck" userId="2d5fa6978198d51d" providerId="LiveId" clId="{5548CFF8-41E1-4A71-896B-BF070F887207}" dt="2019-01-29T16:26:44.204" v="113" actId="1076"/>
          <ac:spMkLst>
            <pc:docMk/>
            <pc:sldMk cId="2913239789" sldId="319"/>
            <ac:spMk id="203" creationId="{DE7C3C4C-081F-4884-B74B-4EBFCDB7AA04}"/>
          </ac:spMkLst>
        </pc:spChg>
        <pc:cxnChg chg="add del mod">
          <ac:chgData name="Marius Möck" userId="2d5fa6978198d51d" providerId="LiveId" clId="{5548CFF8-41E1-4A71-896B-BF070F887207}" dt="2019-01-29T16:21:02.718" v="79" actId="478"/>
          <ac:cxnSpMkLst>
            <pc:docMk/>
            <pc:sldMk cId="2913239789" sldId="319"/>
            <ac:cxnSpMk id="22" creationId="{687191D1-1234-4F18-B6BB-F0BE6D940B17}"/>
          </ac:cxnSpMkLst>
        </pc:cxnChg>
        <pc:cxnChg chg="add del mod">
          <ac:chgData name="Marius Möck" userId="2d5fa6978198d51d" providerId="LiveId" clId="{5548CFF8-41E1-4A71-896B-BF070F887207}" dt="2019-01-29T16:27:50.558" v="120" actId="478"/>
          <ac:cxnSpMkLst>
            <pc:docMk/>
            <pc:sldMk cId="2913239789" sldId="319"/>
            <ac:cxnSpMk id="25" creationId="{AA8C673C-1019-4B9F-9816-CDA01127DB76}"/>
          </ac:cxnSpMkLst>
        </pc:cxnChg>
        <pc:cxnChg chg="del mod">
          <ac:chgData name="Marius Möck" userId="2d5fa6978198d51d" providerId="LiveId" clId="{5548CFF8-41E1-4A71-896B-BF070F887207}" dt="2019-01-29T16:17:37.753" v="23" actId="478"/>
          <ac:cxnSpMkLst>
            <pc:docMk/>
            <pc:sldMk cId="2913239789" sldId="319"/>
            <ac:cxnSpMk id="126" creationId="{F631A3D7-D9B3-4042-B208-5B465DFE3E58}"/>
          </ac:cxnSpMkLst>
        </pc:cxnChg>
        <pc:cxnChg chg="del mod">
          <ac:chgData name="Marius Möck" userId="2d5fa6978198d51d" providerId="LiveId" clId="{5548CFF8-41E1-4A71-896B-BF070F887207}" dt="2019-01-29T16:17:37.753" v="23" actId="478"/>
          <ac:cxnSpMkLst>
            <pc:docMk/>
            <pc:sldMk cId="2913239789" sldId="319"/>
            <ac:cxnSpMk id="128" creationId="{F0800F64-C8D5-46C4-A8FF-EEFB4640573B}"/>
          </ac:cxnSpMkLst>
        </pc:cxnChg>
        <pc:cxnChg chg="del mod">
          <ac:chgData name="Marius Möck" userId="2d5fa6978198d51d" providerId="LiveId" clId="{5548CFF8-41E1-4A71-896B-BF070F887207}" dt="2019-01-29T16:17:40.703" v="24" actId="478"/>
          <ac:cxnSpMkLst>
            <pc:docMk/>
            <pc:sldMk cId="2913239789" sldId="319"/>
            <ac:cxnSpMk id="130" creationId="{1E4BBAA1-323D-426F-AD26-18F55F4FFBC7}"/>
          </ac:cxnSpMkLst>
        </pc:cxnChg>
        <pc:cxnChg chg="del mod">
          <ac:chgData name="Marius Möck" userId="2d5fa6978198d51d" providerId="LiveId" clId="{5548CFF8-41E1-4A71-896B-BF070F887207}" dt="2019-01-29T16:17:37.753" v="23" actId="478"/>
          <ac:cxnSpMkLst>
            <pc:docMk/>
            <pc:sldMk cId="2913239789" sldId="319"/>
            <ac:cxnSpMk id="132" creationId="{F318F5C0-AB57-4812-9983-BA3846154218}"/>
          </ac:cxnSpMkLst>
        </pc:cxnChg>
        <pc:cxnChg chg="del mod">
          <ac:chgData name="Marius Möck" userId="2d5fa6978198d51d" providerId="LiveId" clId="{5548CFF8-41E1-4A71-896B-BF070F887207}" dt="2019-01-29T16:17:40.703" v="24" actId="478"/>
          <ac:cxnSpMkLst>
            <pc:docMk/>
            <pc:sldMk cId="2913239789" sldId="319"/>
            <ac:cxnSpMk id="134" creationId="{A34E8DC4-52D7-45E4-B8AF-6450906D8939}"/>
          </ac:cxnSpMkLst>
        </pc:cxnChg>
        <pc:cxnChg chg="del mod">
          <ac:chgData name="Marius Möck" userId="2d5fa6978198d51d" providerId="LiveId" clId="{5548CFF8-41E1-4A71-896B-BF070F887207}" dt="2019-01-29T16:17:40.703" v="24" actId="478"/>
          <ac:cxnSpMkLst>
            <pc:docMk/>
            <pc:sldMk cId="2913239789" sldId="319"/>
            <ac:cxnSpMk id="136" creationId="{3F623AAB-F0CE-4D5E-8807-B88B8CB5FD16}"/>
          </ac:cxnSpMkLst>
        </pc:cxnChg>
        <pc:cxnChg chg="mod">
          <ac:chgData name="Marius Möck" userId="2d5fa6978198d51d" providerId="LiveId" clId="{5548CFF8-41E1-4A71-896B-BF070F887207}" dt="2019-01-29T16:20:35.718" v="76" actId="14100"/>
          <ac:cxnSpMkLst>
            <pc:docMk/>
            <pc:sldMk cId="2913239789" sldId="319"/>
            <ac:cxnSpMk id="141" creationId="{F846C219-0789-4029-AD14-400F1AD46978}"/>
          </ac:cxnSpMkLst>
        </pc:cxnChg>
        <pc:cxnChg chg="mod">
          <ac:chgData name="Marius Möck" userId="2d5fa6978198d51d" providerId="LiveId" clId="{5548CFF8-41E1-4A71-896B-BF070F887207}" dt="2019-01-29T16:26:36.506" v="111" actId="1076"/>
          <ac:cxnSpMkLst>
            <pc:docMk/>
            <pc:sldMk cId="2913239789" sldId="319"/>
            <ac:cxnSpMk id="205" creationId="{E83AC2E8-C8A1-4CB5-993D-EFB9E5E5C3BA}"/>
          </ac:cxnSpMkLst>
        </pc:cxnChg>
        <pc:cxnChg chg="mod">
          <ac:chgData name="Marius Möck" userId="2d5fa6978198d51d" providerId="LiveId" clId="{5548CFF8-41E1-4A71-896B-BF070F887207}" dt="2019-01-29T16:26:38.086" v="112" actId="1076"/>
          <ac:cxnSpMkLst>
            <pc:docMk/>
            <pc:sldMk cId="2913239789" sldId="319"/>
            <ac:cxnSpMk id="207" creationId="{B99F9FBE-CA24-48CE-8F87-36F8C3FD98E6}"/>
          </ac:cxnSpMkLst>
        </pc:cxnChg>
        <pc:cxnChg chg="mod">
          <ac:chgData name="Marius Möck" userId="2d5fa6978198d51d" providerId="LiveId" clId="{5548CFF8-41E1-4A71-896B-BF070F887207}" dt="2019-01-29T16:26:44.204" v="113" actId="1076"/>
          <ac:cxnSpMkLst>
            <pc:docMk/>
            <pc:sldMk cId="2913239789" sldId="319"/>
            <ac:cxnSpMk id="209" creationId="{E46D5B3C-3E73-4948-9556-E89CEC601A0C}"/>
          </ac:cxnSpMkLst>
        </pc:cxnChg>
        <pc:cxnChg chg="mod">
          <ac:chgData name="Marius Möck" userId="2d5fa6978198d51d" providerId="LiveId" clId="{5548CFF8-41E1-4A71-896B-BF070F887207}" dt="2019-01-29T16:28:22.038" v="124" actId="14100"/>
          <ac:cxnSpMkLst>
            <pc:docMk/>
            <pc:sldMk cId="2913239789" sldId="319"/>
            <ac:cxnSpMk id="212" creationId="{94A11E0C-3330-45C2-878F-2AF9A67E93F2}"/>
          </ac:cxnSpMkLst>
        </pc:cxnChg>
        <pc:cxnChg chg="mod">
          <ac:chgData name="Marius Möck" userId="2d5fa6978198d51d" providerId="LiveId" clId="{5548CFF8-41E1-4A71-896B-BF070F887207}" dt="2019-01-29T16:28:26.988" v="125" actId="14100"/>
          <ac:cxnSpMkLst>
            <pc:docMk/>
            <pc:sldMk cId="2913239789" sldId="319"/>
            <ac:cxnSpMk id="214" creationId="{E07B100C-3448-4866-BF91-69B7E8187ACD}"/>
          </ac:cxnSpMkLst>
        </pc:cxnChg>
        <pc:cxnChg chg="mod">
          <ac:chgData name="Marius Möck" userId="2d5fa6978198d51d" providerId="LiveId" clId="{5548CFF8-41E1-4A71-896B-BF070F887207}" dt="2019-01-29T16:28:33.911" v="126" actId="14100"/>
          <ac:cxnSpMkLst>
            <pc:docMk/>
            <pc:sldMk cId="2913239789" sldId="319"/>
            <ac:cxnSpMk id="216" creationId="{A66BF723-387B-4001-800E-2F58870DAC47}"/>
          </ac:cxnSpMkLst>
        </pc:cxnChg>
        <pc:cxnChg chg="add mod">
          <ac:chgData name="Marius Möck" userId="2d5fa6978198d51d" providerId="LiveId" clId="{5548CFF8-41E1-4A71-896B-BF070F887207}" dt="2019-01-29T16:28:04.045" v="122" actId="14100"/>
          <ac:cxnSpMkLst>
            <pc:docMk/>
            <pc:sldMk cId="2913239789" sldId="319"/>
            <ac:cxnSpMk id="229" creationId="{B6610008-CE90-4C20-836B-0C52732AA37C}"/>
          </ac:cxnSpMkLst>
        </pc:cxnChg>
      </pc:sldChg>
      <pc:sldChg chg="delSp modSp add">
        <pc:chgData name="Marius Möck" userId="2d5fa6978198d51d" providerId="LiveId" clId="{5548CFF8-41E1-4A71-896B-BF070F887207}" dt="2019-01-29T16:15:59.539" v="20" actId="1076"/>
        <pc:sldMkLst>
          <pc:docMk/>
          <pc:sldMk cId="3267112402" sldId="329"/>
        </pc:sldMkLst>
        <pc:spChg chg="mod">
          <ac:chgData name="Marius Möck" userId="2d5fa6978198d51d" providerId="LiveId" clId="{5548CFF8-41E1-4A71-896B-BF070F887207}" dt="2019-01-29T16:15:15.300" v="10" actId="20577"/>
          <ac:spMkLst>
            <pc:docMk/>
            <pc:sldMk cId="3267112402" sldId="329"/>
            <ac:spMk id="9" creationId="{7B666313-F7F3-4C65-9809-B2E05D36B336}"/>
          </ac:spMkLst>
        </pc:spChg>
        <pc:spChg chg="mod">
          <ac:chgData name="Marius Möck" userId="2d5fa6978198d51d" providerId="LiveId" clId="{5548CFF8-41E1-4A71-896B-BF070F887207}" dt="2019-01-29T16:15:51.924" v="19" actId="1076"/>
          <ac:spMkLst>
            <pc:docMk/>
            <pc:sldMk cId="3267112402" sldId="329"/>
            <ac:spMk id="10" creationId="{583973AB-3548-4CD2-A676-52EB83DDFBB9}"/>
          </ac:spMkLst>
        </pc:spChg>
        <pc:spChg chg="mod">
          <ac:chgData name="Marius Möck" userId="2d5fa6978198d51d" providerId="LiveId" clId="{5548CFF8-41E1-4A71-896B-BF070F887207}" dt="2019-01-29T16:15:30.855" v="13" actId="14100"/>
          <ac:spMkLst>
            <pc:docMk/>
            <pc:sldMk cId="3267112402" sldId="329"/>
            <ac:spMk id="12" creationId="{11477FC5-D250-4716-BC81-B39128E8B014}"/>
          </ac:spMkLst>
        </pc:spChg>
        <pc:spChg chg="del">
          <ac:chgData name="Marius Möck" userId="2d5fa6978198d51d" providerId="LiveId" clId="{5548CFF8-41E1-4A71-896B-BF070F887207}" dt="2019-01-29T16:14:47.173" v="1" actId="478"/>
          <ac:spMkLst>
            <pc:docMk/>
            <pc:sldMk cId="3267112402" sldId="329"/>
            <ac:spMk id="16" creationId="{ABC10B97-7C75-4CCB-AD7C-0A87123425B8}"/>
          </ac:spMkLst>
        </pc:spChg>
        <pc:spChg chg="mod">
          <ac:chgData name="Marius Möck" userId="2d5fa6978198d51d" providerId="LiveId" clId="{5548CFF8-41E1-4A71-896B-BF070F887207}" dt="2019-01-29T16:15:59.539" v="20" actId="1076"/>
          <ac:spMkLst>
            <pc:docMk/>
            <pc:sldMk cId="3267112402" sldId="329"/>
            <ac:spMk id="19" creationId="{81152AAC-9438-410D-B0BD-7B19403CD6C4}"/>
          </ac:spMkLst>
        </pc:spChg>
        <pc:picChg chg="mod">
          <ac:chgData name="Marius Möck" userId="2d5fa6978198d51d" providerId="LiveId" clId="{5548CFF8-41E1-4A71-896B-BF070F887207}" dt="2019-01-29T16:15:18.939" v="11" actId="1076"/>
          <ac:picMkLst>
            <pc:docMk/>
            <pc:sldMk cId="3267112402" sldId="329"/>
            <ac:picMk id="23" creationId="{24042CB2-3BC3-4535-9BF1-DA489B1EFA75}"/>
          </ac:picMkLst>
        </pc:picChg>
      </pc:sldChg>
      <pc:sldChg chg="ord">
        <pc:chgData name="Marius Möck" userId="2d5fa6978198d51d" providerId="LiveId" clId="{5548CFF8-41E1-4A71-896B-BF070F887207}" dt="2019-02-05T12:17:56.853" v="571"/>
        <pc:sldMkLst>
          <pc:docMk/>
          <pc:sldMk cId="1591283079" sldId="344"/>
        </pc:sldMkLst>
      </pc:sldChg>
      <pc:sldChg chg="modSp add">
        <pc:chgData name="Marius Möck" userId="2d5fa6978198d51d" providerId="LiveId" clId="{5548CFF8-41E1-4A71-896B-BF070F887207}" dt="2019-02-05T12:16:46.360" v="510" actId="20577"/>
        <pc:sldMkLst>
          <pc:docMk/>
          <pc:sldMk cId="3360937211" sldId="349"/>
        </pc:sldMkLst>
        <pc:spChg chg="mod">
          <ac:chgData name="Marius Möck" userId="2d5fa6978198d51d" providerId="LiveId" clId="{5548CFF8-41E1-4A71-896B-BF070F887207}" dt="2019-02-05T12:16:46.360" v="510" actId="20577"/>
          <ac:spMkLst>
            <pc:docMk/>
            <pc:sldMk cId="3360937211" sldId="349"/>
            <ac:spMk id="2" creationId="{88AE7518-EEC7-4BBB-AEFD-24F17111A41D}"/>
          </ac:spMkLst>
        </pc:spChg>
        <pc:graphicFrameChg chg="mod">
          <ac:chgData name="Marius Möck" userId="2d5fa6978198d51d" providerId="LiveId" clId="{5548CFF8-41E1-4A71-896B-BF070F887207}" dt="2019-02-05T12:16:13.298" v="463" actId="12100"/>
          <ac:graphicFrameMkLst>
            <pc:docMk/>
            <pc:sldMk cId="3360937211" sldId="349"/>
            <ac:graphicFrameMk id="6" creationId="{F14C5745-BA38-47C3-96D5-145BC9668847}"/>
          </ac:graphicFrameMkLst>
        </pc:graphicFrameChg>
      </pc:sldChg>
      <pc:sldChg chg="addSp delSp modSp add">
        <pc:chgData name="Marius Möck" userId="2d5fa6978198d51d" providerId="LiveId" clId="{5548CFF8-41E1-4A71-896B-BF070F887207}" dt="2019-02-10T18:13:54.594" v="1188" actId="20577"/>
        <pc:sldMkLst>
          <pc:docMk/>
          <pc:sldMk cId="3865210710" sldId="350"/>
        </pc:sldMkLst>
        <pc:spChg chg="mod">
          <ac:chgData name="Marius Möck" userId="2d5fa6978198d51d" providerId="LiveId" clId="{5548CFF8-41E1-4A71-896B-BF070F887207}" dt="2019-02-05T12:18:42.907" v="575" actId="20577"/>
          <ac:spMkLst>
            <pc:docMk/>
            <pc:sldMk cId="3865210710" sldId="350"/>
            <ac:spMk id="2" creationId="{98F38B9F-E885-4588-8BB7-816AAD317C04}"/>
          </ac:spMkLst>
        </pc:spChg>
        <pc:spChg chg="del">
          <ac:chgData name="Marius Möck" userId="2d5fa6978198d51d" providerId="LiveId" clId="{5548CFF8-41E1-4A71-896B-BF070F887207}" dt="2019-02-05T12:17:19.314" v="521"/>
          <ac:spMkLst>
            <pc:docMk/>
            <pc:sldMk cId="3865210710" sldId="350"/>
            <ac:spMk id="3" creationId="{073DEB31-0A1D-46A1-9215-5B554F3CCA48}"/>
          </ac:spMkLst>
        </pc:spChg>
        <pc:spChg chg="add del mod">
          <ac:chgData name="Marius Möck" userId="2d5fa6978198d51d" providerId="LiveId" clId="{5548CFF8-41E1-4A71-896B-BF070F887207}" dt="2019-02-05T12:18:53.343" v="578"/>
          <ac:spMkLst>
            <pc:docMk/>
            <pc:sldMk cId="3865210710" sldId="350"/>
            <ac:spMk id="7" creationId="{2E65831B-F39C-4FCA-BF0B-41CFCAC71440}"/>
          </ac:spMkLst>
        </pc:spChg>
        <pc:spChg chg="add mod">
          <ac:chgData name="Marius Möck" userId="2d5fa6978198d51d" providerId="LiveId" clId="{5548CFF8-41E1-4A71-896B-BF070F887207}" dt="2019-02-10T18:13:54.594" v="1188" actId="20577"/>
          <ac:spMkLst>
            <pc:docMk/>
            <pc:sldMk cId="3865210710" sldId="350"/>
            <ac:spMk id="8" creationId="{9986EDFC-A9C9-4543-BDB2-99831741B83D}"/>
          </ac:spMkLst>
        </pc:spChg>
        <pc:picChg chg="add del mod">
          <ac:chgData name="Marius Möck" userId="2d5fa6978198d51d" providerId="LiveId" clId="{5548CFF8-41E1-4A71-896B-BF070F887207}" dt="2019-02-05T12:18:52.038" v="577"/>
          <ac:picMkLst>
            <pc:docMk/>
            <pc:sldMk cId="3865210710" sldId="350"/>
            <ac:picMk id="6" creationId="{FE2A9E06-8C78-432D-B7C0-2421FD737B21}"/>
          </ac:picMkLst>
        </pc:picChg>
        <pc:picChg chg="add mod">
          <ac:chgData name="Marius Möck" userId="2d5fa6978198d51d" providerId="LiveId" clId="{5548CFF8-41E1-4A71-896B-BF070F887207}" dt="2019-02-05T12:20:01.897" v="700" actId="1037"/>
          <ac:picMkLst>
            <pc:docMk/>
            <pc:sldMk cId="3865210710" sldId="350"/>
            <ac:picMk id="9" creationId="{DEB27C69-DD79-4088-98F3-80AB01938760}"/>
          </ac:picMkLst>
        </pc:picChg>
      </pc:sldChg>
      <pc:sldChg chg="modSp add">
        <pc:chgData name="Marius Möck" userId="2d5fa6978198d51d" providerId="LiveId" clId="{5548CFF8-41E1-4A71-896B-BF070F887207}" dt="2019-02-10T18:22:31.847" v="1326" actId="20577"/>
        <pc:sldMkLst>
          <pc:docMk/>
          <pc:sldMk cId="2561898353" sldId="351"/>
        </pc:sldMkLst>
        <pc:spChg chg="mod">
          <ac:chgData name="Marius Möck" userId="2d5fa6978198d51d" providerId="LiveId" clId="{5548CFF8-41E1-4A71-896B-BF070F887207}" dt="2019-02-10T18:22:31.847" v="1326" actId="20577"/>
          <ac:spMkLst>
            <pc:docMk/>
            <pc:sldMk cId="2561898353" sldId="351"/>
            <ac:spMk id="2" creationId="{963B81F2-2CD0-4797-B79A-BCFC4932967C}"/>
          </ac:spMkLst>
        </pc:spChg>
        <pc:spChg chg="mod">
          <ac:chgData name="Marius Möck" userId="2d5fa6978198d51d" providerId="LiveId" clId="{5548CFF8-41E1-4A71-896B-BF070F887207}" dt="2019-02-10T18:13:44.179" v="1187" actId="20577"/>
          <ac:spMkLst>
            <pc:docMk/>
            <pc:sldMk cId="2561898353" sldId="351"/>
            <ac:spMk id="3" creationId="{E75585DA-C64F-437B-8076-16EA56E404E8}"/>
          </ac:spMkLst>
        </pc:spChg>
      </pc:sldChg>
      <pc:sldChg chg="modSp">
        <pc:chgData name="Marius Möck" userId="2d5fa6978198d51d" providerId="LiveId" clId="{5548CFF8-41E1-4A71-896B-BF070F887207}" dt="2019-02-10T18:02:14.894" v="1182" actId="20577"/>
        <pc:sldMkLst>
          <pc:docMk/>
          <pc:sldMk cId="2274450700" sldId="356"/>
        </pc:sldMkLst>
        <pc:spChg chg="mod">
          <ac:chgData name="Marius Möck" userId="2d5fa6978198d51d" providerId="LiveId" clId="{5548CFF8-41E1-4A71-896B-BF070F887207}" dt="2019-02-10T18:02:14.894" v="1182" actId="20577"/>
          <ac:spMkLst>
            <pc:docMk/>
            <pc:sldMk cId="2274450700" sldId="356"/>
            <ac:spMk id="18" creationId="{1DF9A93D-B70F-FF45-8A97-1CF707E67733}"/>
          </ac:spMkLst>
        </pc:spChg>
      </pc:sldChg>
      <pc:sldChg chg="modSp">
        <pc:chgData name="Marius Möck" userId="2d5fa6978198d51d" providerId="LiveId" clId="{5548CFF8-41E1-4A71-896B-BF070F887207}" dt="2019-02-10T18:22:15.545" v="1313" actId="20577"/>
        <pc:sldMkLst>
          <pc:docMk/>
          <pc:sldMk cId="4241012387" sldId="357"/>
        </pc:sldMkLst>
        <pc:spChg chg="mod">
          <ac:chgData name="Marius Möck" userId="2d5fa6978198d51d" providerId="LiveId" clId="{5548CFF8-41E1-4A71-896B-BF070F887207}" dt="2019-02-10T18:22:15.545" v="1313" actId="20577"/>
          <ac:spMkLst>
            <pc:docMk/>
            <pc:sldMk cId="4241012387" sldId="357"/>
            <ac:spMk id="3" creationId="{096CD252-F124-4A79-ADCD-AF2D3EDD1643}"/>
          </ac:spMkLst>
        </pc:spChg>
      </pc:sldChg>
      <pc:sldChg chg="ord">
        <pc:chgData name="Marius Möck" userId="2d5fa6978198d51d" providerId="LiveId" clId="{5548CFF8-41E1-4A71-896B-BF070F887207}" dt="2019-02-10T18:13:02.786" v="1186"/>
        <pc:sldMkLst>
          <pc:docMk/>
          <pc:sldMk cId="3147023879" sldId="358"/>
        </pc:sldMkLst>
      </pc:sldChg>
      <pc:sldChg chg="modSp">
        <pc:chgData name="Marius Möck" userId="2d5fa6978198d51d" providerId="LiveId" clId="{5548CFF8-41E1-4A71-896B-BF070F887207}" dt="2019-02-10T18:22:42.787" v="1347" actId="20577"/>
        <pc:sldMkLst>
          <pc:docMk/>
          <pc:sldMk cId="3032303920" sldId="360"/>
        </pc:sldMkLst>
        <pc:spChg chg="mod">
          <ac:chgData name="Marius Möck" userId="2d5fa6978198d51d" providerId="LiveId" clId="{5548CFF8-41E1-4A71-896B-BF070F887207}" dt="2019-02-10T18:22:42.787" v="1347" actId="20577"/>
          <ac:spMkLst>
            <pc:docMk/>
            <pc:sldMk cId="3032303920" sldId="360"/>
            <ac:spMk id="2" creationId="{963B81F2-2CD0-4797-B79A-BCFC4932967C}"/>
          </ac:spMkLst>
        </pc:spChg>
      </pc:sldChg>
      <pc:sldChg chg="addSp modSp">
        <pc:chgData name="Marius Möck" userId="2d5fa6978198d51d" providerId="LiveId" clId="{5548CFF8-41E1-4A71-896B-BF070F887207}" dt="2019-02-10T17:53:33.779" v="1173" actId="14861"/>
        <pc:sldMkLst>
          <pc:docMk/>
          <pc:sldMk cId="690796981" sldId="363"/>
        </pc:sldMkLst>
        <pc:picChg chg="add mod">
          <ac:chgData name="Marius Möck" userId="2d5fa6978198d51d" providerId="LiveId" clId="{5548CFF8-41E1-4A71-896B-BF070F887207}" dt="2019-02-10T17:33:17.858" v="1153" actId="14861"/>
          <ac:picMkLst>
            <pc:docMk/>
            <pc:sldMk cId="690796981" sldId="363"/>
            <ac:picMk id="5" creationId="{E4805B99-174A-4BBF-A660-26AD7888628B}"/>
          </ac:picMkLst>
        </pc:picChg>
        <pc:picChg chg="mod">
          <ac:chgData name="Marius Möck" userId="2d5fa6978198d51d" providerId="LiveId" clId="{5548CFF8-41E1-4A71-896B-BF070F887207}" dt="2019-02-10T17:32:36.091" v="1148" actId="1076"/>
          <ac:picMkLst>
            <pc:docMk/>
            <pc:sldMk cId="690796981" sldId="363"/>
            <ac:picMk id="13" creationId="{5A890745-1B43-4584-B1CA-A00E500BEF4D}"/>
          </ac:picMkLst>
        </pc:picChg>
        <pc:picChg chg="mod">
          <ac:chgData name="Marius Möck" userId="2d5fa6978198d51d" providerId="LiveId" clId="{5548CFF8-41E1-4A71-896B-BF070F887207}" dt="2019-02-10T17:53:33.779" v="1173" actId="14861"/>
          <ac:picMkLst>
            <pc:docMk/>
            <pc:sldMk cId="690796981" sldId="363"/>
            <ac:picMk id="15" creationId="{64085328-006E-4926-B08A-4DFAB7D681A6}"/>
          </ac:picMkLst>
        </pc:picChg>
        <pc:picChg chg="mod">
          <ac:chgData name="Marius Möck" userId="2d5fa6978198d51d" providerId="LiveId" clId="{5548CFF8-41E1-4A71-896B-BF070F887207}" dt="2019-02-10T17:53:33.779" v="1173" actId="14861"/>
          <ac:picMkLst>
            <pc:docMk/>
            <pc:sldMk cId="690796981" sldId="363"/>
            <ac:picMk id="17" creationId="{51A096CE-30EC-4634-AB9A-20765BDD4D5B}"/>
          </ac:picMkLst>
        </pc:picChg>
        <pc:picChg chg="mod">
          <ac:chgData name="Marius Möck" userId="2d5fa6978198d51d" providerId="LiveId" clId="{5548CFF8-41E1-4A71-896B-BF070F887207}" dt="2019-02-10T17:53:33.779" v="1173" actId="14861"/>
          <ac:picMkLst>
            <pc:docMk/>
            <pc:sldMk cId="690796981" sldId="363"/>
            <ac:picMk id="19" creationId="{910F4457-9477-4C89-96D7-51315D29EAC6}"/>
          </ac:picMkLst>
        </pc:picChg>
        <pc:picChg chg="mod">
          <ac:chgData name="Marius Möck" userId="2d5fa6978198d51d" providerId="LiveId" clId="{5548CFF8-41E1-4A71-896B-BF070F887207}" dt="2019-02-10T17:53:33.779" v="1173" actId="14861"/>
          <ac:picMkLst>
            <pc:docMk/>
            <pc:sldMk cId="690796981" sldId="363"/>
            <ac:picMk id="29" creationId="{6AEE589E-ED14-4DD1-BD8B-AD14D99F6826}"/>
          </ac:picMkLst>
        </pc:picChg>
      </pc:sldChg>
      <pc:sldChg chg="modSp">
        <pc:chgData name="Marius Möck" userId="2d5fa6978198d51d" providerId="LiveId" clId="{5548CFF8-41E1-4A71-896B-BF070F887207}" dt="2019-02-10T18:22:51.859" v="1359" actId="20577"/>
        <pc:sldMkLst>
          <pc:docMk/>
          <pc:sldMk cId="449367235" sldId="365"/>
        </pc:sldMkLst>
        <pc:graphicFrameChg chg="mod">
          <ac:chgData name="Marius Möck" userId="2d5fa6978198d51d" providerId="LiveId" clId="{5548CFF8-41E1-4A71-896B-BF070F887207}" dt="2019-02-10T18:22:51.859" v="1359" actId="20577"/>
          <ac:graphicFrameMkLst>
            <pc:docMk/>
            <pc:sldMk cId="449367235" sldId="365"/>
            <ac:graphicFrameMk id="7" creationId="{0D5A4370-4F0B-46F7-9538-2E4C40F3CBF8}"/>
          </ac:graphicFrameMkLst>
        </pc:graphicFrameChg>
      </pc:sldChg>
    </pc:docChg>
  </pc:docChgLst>
  <pc:docChgLst>
    <pc:chgData name="Marius Möck" userId="2d5fa6978198d51d" providerId="Windows Live" clId="Web-{77C6E356-A4DA-4C03-B0D7-E9D5FA5E945F}"/>
  </pc:docChgLst>
  <pc:docChgLst>
    <pc:chgData name="Christoph Witzko" userId="2f3a363482c7f5d6" providerId="Windows Live" clId="Web-{2910AE5A-1DF2-4F7C-A243-D9495407023C}"/>
  </pc:docChgLst>
  <pc:docChgLst>
    <pc:chgData name="Domenic Bosin" userId="f27d954ac5aa4257" providerId="Windows Live" clId="Web-{9F9944B6-0B95-4825-9F26-D1AE53C5C68E}"/>
  </pc:docChgLst>
  <pc:docChgLst>
    <pc:chgData name="Christoph Witzko" userId="2f3a363482c7f5d6" providerId="Windows Live" clId="Web-{36DB2000-A157-4C2F-A934-E2FE118E3EA4}"/>
    <pc:docChg chg="modSld sldOrd">
      <pc:chgData name="Christoph Witzko" userId="2f3a363482c7f5d6" providerId="Windows Live" clId="Web-{36DB2000-A157-4C2F-A934-E2FE118E3EA4}" dt="2019-02-07T11:02:11.654" v="130"/>
      <pc:docMkLst>
        <pc:docMk/>
      </pc:docMkLst>
      <pc:sldChg chg="modSp">
        <pc:chgData name="Christoph Witzko" userId="2f3a363482c7f5d6" providerId="Windows Live" clId="Web-{36DB2000-A157-4C2F-A934-E2FE118E3EA4}" dt="2019-02-07T10:05:19.304" v="69" actId="20577"/>
        <pc:sldMkLst>
          <pc:docMk/>
          <pc:sldMk cId="1591283079" sldId="344"/>
        </pc:sldMkLst>
        <pc:spChg chg="mod">
          <ac:chgData name="Christoph Witzko" userId="2f3a363482c7f5d6" providerId="Windows Live" clId="Web-{36DB2000-A157-4C2F-A934-E2FE118E3EA4}" dt="2019-02-07T10:04:52.413" v="62" actId="1076"/>
          <ac:spMkLst>
            <pc:docMk/>
            <pc:sldMk cId="1591283079" sldId="344"/>
            <ac:spMk id="20" creationId="{75D24880-566C-4DF7-917D-36AEF4E53F10}"/>
          </ac:spMkLst>
        </pc:spChg>
        <pc:spChg chg="mod">
          <ac:chgData name="Christoph Witzko" userId="2f3a363482c7f5d6" providerId="Windows Live" clId="Web-{36DB2000-A157-4C2F-A934-E2FE118E3EA4}" dt="2019-02-07T10:01:24.387" v="8" actId="20577"/>
          <ac:spMkLst>
            <pc:docMk/>
            <pc:sldMk cId="1591283079" sldId="344"/>
            <ac:spMk id="25" creationId="{3FE8577F-A0B2-4DB6-A613-481C6A28E2B7}"/>
          </ac:spMkLst>
        </pc:spChg>
        <pc:spChg chg="mod">
          <ac:chgData name="Christoph Witzko" userId="2f3a363482c7f5d6" providerId="Windows Live" clId="Web-{36DB2000-A157-4C2F-A934-E2FE118E3EA4}" dt="2019-02-07T10:05:19.304" v="69" actId="20577"/>
          <ac:spMkLst>
            <pc:docMk/>
            <pc:sldMk cId="1591283079" sldId="344"/>
            <ac:spMk id="38" creationId="{121FE0E2-2497-4DE9-834A-F84CD5FC758F}"/>
          </ac:spMkLst>
        </pc:spChg>
        <pc:spChg chg="mod">
          <ac:chgData name="Christoph Witzko" userId="2f3a363482c7f5d6" providerId="Windows Live" clId="Web-{36DB2000-A157-4C2F-A934-E2FE118E3EA4}" dt="2019-02-07T10:02:13.483" v="49" actId="20577"/>
          <ac:spMkLst>
            <pc:docMk/>
            <pc:sldMk cId="1591283079" sldId="344"/>
            <ac:spMk id="42" creationId="{FAFA5BBD-0900-4B24-87CA-5A3E17E036FE}"/>
          </ac:spMkLst>
        </pc:spChg>
        <pc:spChg chg="mod">
          <ac:chgData name="Christoph Witzko" userId="2f3a363482c7f5d6" providerId="Windows Live" clId="Web-{36DB2000-A157-4C2F-A934-E2FE118E3EA4}" dt="2019-02-07T10:02:15.291" v="51" actId="20577"/>
          <ac:spMkLst>
            <pc:docMk/>
            <pc:sldMk cId="1591283079" sldId="344"/>
            <ac:spMk id="44" creationId="{0794FE15-FB41-418B-B750-881768A47470}"/>
          </ac:spMkLst>
        </pc:spChg>
        <pc:spChg chg="mod">
          <ac:chgData name="Christoph Witzko" userId="2f3a363482c7f5d6" providerId="Windows Live" clId="Web-{36DB2000-A157-4C2F-A934-E2FE118E3EA4}" dt="2019-02-07T10:02:18.418" v="58" actId="20577"/>
          <ac:spMkLst>
            <pc:docMk/>
            <pc:sldMk cId="1591283079" sldId="344"/>
            <ac:spMk id="46" creationId="{3E456B45-A718-4AE8-A322-03480DB2EFE2}"/>
          </ac:spMkLst>
        </pc:spChg>
      </pc:sldChg>
      <pc:sldChg chg="modSp ord">
        <pc:chgData name="Christoph Witzko" userId="2f3a363482c7f5d6" providerId="Windows Live" clId="Web-{36DB2000-A157-4C2F-A934-E2FE118E3EA4}" dt="2019-02-07T11:02:11.654" v="130"/>
        <pc:sldMkLst>
          <pc:docMk/>
          <pc:sldMk cId="4241012387" sldId="357"/>
        </pc:sldMkLst>
        <pc:spChg chg="mod">
          <ac:chgData name="Christoph Witzko" userId="2f3a363482c7f5d6" providerId="Windows Live" clId="Web-{36DB2000-A157-4C2F-A934-E2FE118E3EA4}" dt="2019-02-07T10:29:30.367" v="84" actId="20577"/>
          <ac:spMkLst>
            <pc:docMk/>
            <pc:sldMk cId="4241012387" sldId="357"/>
            <ac:spMk id="3" creationId="{096CD252-F124-4A79-ADCD-AF2D3EDD1643}"/>
          </ac:spMkLst>
        </pc:spChg>
      </pc:sldChg>
    </pc:docChg>
  </pc:docChgLst>
  <pc:docChgLst>
    <pc:chgData name="Marius Möck" userId="2d5fa6978198d51d" providerId="Windows Live" clId="Web-{4710DFF4-682B-403C-970F-B391C9AC9DF2}"/>
    <pc:docChg chg="modSld">
      <pc:chgData name="Marius Möck" userId="2d5fa6978198d51d" providerId="Windows Live" clId="Web-{4710DFF4-682B-403C-970F-B391C9AC9DF2}" dt="2019-02-08T14:44:10.653" v="52"/>
      <pc:docMkLst>
        <pc:docMk/>
      </pc:docMkLst>
    </pc:docChg>
  </pc:docChgLst>
  <pc:docChgLst>
    <pc:chgData name="Gastbenutzer" providerId="Windows Live" clId="Web-{258DD246-24B5-46BA-AE4E-32EC12FF9EF3}"/>
    <pc:docChg chg="modSld">
      <pc:chgData name="Gastbenutzer" userId="" providerId="Windows Live" clId="Web-{258DD246-24B5-46BA-AE4E-32EC12FF9EF3}" dt="2019-02-13T13:41:46.983" v="0" actId="1076"/>
      <pc:docMkLst>
        <pc:docMk/>
      </pc:docMkLst>
      <pc:sldChg chg="modSp">
        <pc:chgData name="Gastbenutzer" userId="" providerId="Windows Live" clId="Web-{258DD246-24B5-46BA-AE4E-32EC12FF9EF3}" dt="2019-02-13T13:41:46.983" v="0" actId="1076"/>
        <pc:sldMkLst>
          <pc:docMk/>
          <pc:sldMk cId="165206610" sldId="385"/>
        </pc:sldMkLst>
        <pc:picChg chg="mod">
          <ac:chgData name="Gastbenutzer" userId="" providerId="Windows Live" clId="Web-{258DD246-24B5-46BA-AE4E-32EC12FF9EF3}" dt="2019-02-13T13:41:46.983" v="0" actId="1076"/>
          <ac:picMkLst>
            <pc:docMk/>
            <pc:sldMk cId="165206610" sldId="385"/>
            <ac:picMk id="15" creationId="{D8186B36-BAF6-4724-AA87-AF3DCB414F10}"/>
          </ac:picMkLst>
        </pc:picChg>
      </pc:sldChg>
    </pc:docChg>
  </pc:docChgLst>
  <pc:docChgLst>
    <pc:chgData name="Philipp Ratz" userId="2cc21629dbc12aa6" providerId="LiveId" clId="{A2BE34F8-A076-624B-AAC3-58FCA3AE6AB0}"/>
    <pc:docChg chg="undo redo custSel addSld modSld sldOrd">
      <pc:chgData name="Philipp Ratz" userId="2cc21629dbc12aa6" providerId="LiveId" clId="{A2BE34F8-A076-624B-AAC3-58FCA3AE6AB0}" dt="2019-02-13T16:44:02.351" v="4632" actId="1035"/>
      <pc:docMkLst>
        <pc:docMk/>
      </pc:docMkLst>
      <pc:sldChg chg="addSp modSp">
        <pc:chgData name="Philipp Ratz" userId="2cc21629dbc12aa6" providerId="LiveId" clId="{A2BE34F8-A076-624B-AAC3-58FCA3AE6AB0}" dt="2019-02-13T14:27:34.920" v="3344" actId="1037"/>
        <pc:sldMkLst>
          <pc:docMk/>
          <pc:sldMk cId="2913239789" sldId="319"/>
        </pc:sldMkLst>
        <pc:spChg chg="mod">
          <ac:chgData name="Philipp Ratz" userId="2cc21629dbc12aa6" providerId="LiveId" clId="{A2BE34F8-A076-624B-AAC3-58FCA3AE6AB0}" dt="2019-02-13T14:25:11.741" v="3320" actId="14100"/>
          <ac:spMkLst>
            <pc:docMk/>
            <pc:sldMk cId="2913239789" sldId="319"/>
            <ac:spMk id="6" creationId="{5A5E1BAB-4091-4EF3-BE0D-6A33190F57C5}"/>
          </ac:spMkLst>
        </pc:spChg>
        <pc:spChg chg="mod">
          <ac:chgData name="Philipp Ratz" userId="2cc21629dbc12aa6" providerId="LiveId" clId="{A2BE34F8-A076-624B-AAC3-58FCA3AE6AB0}" dt="2019-02-13T14:25:11.741" v="3320" actId="14100"/>
          <ac:spMkLst>
            <pc:docMk/>
            <pc:sldMk cId="2913239789" sldId="319"/>
            <ac:spMk id="7" creationId="{6FCF179E-01C8-4E7E-82FE-8B1AE05AC8BC}"/>
          </ac:spMkLst>
        </pc:spChg>
        <pc:spChg chg="mod">
          <ac:chgData name="Philipp Ratz" userId="2cc21629dbc12aa6" providerId="LiveId" clId="{A2BE34F8-A076-624B-AAC3-58FCA3AE6AB0}" dt="2019-02-13T14:25:11.741" v="3320" actId="14100"/>
          <ac:spMkLst>
            <pc:docMk/>
            <pc:sldMk cId="2913239789" sldId="319"/>
            <ac:spMk id="8" creationId="{71A3B7E1-6898-4B45-94BD-666605C08FC2}"/>
          </ac:spMkLst>
        </pc:spChg>
        <pc:spChg chg="mod">
          <ac:chgData name="Philipp Ratz" userId="2cc21629dbc12aa6" providerId="LiveId" clId="{A2BE34F8-A076-624B-AAC3-58FCA3AE6AB0}" dt="2019-02-13T14:25:11.741" v="3320" actId="14100"/>
          <ac:spMkLst>
            <pc:docMk/>
            <pc:sldMk cId="2913239789" sldId="319"/>
            <ac:spMk id="9" creationId="{BBC21FAD-3814-40BB-ABF5-9B83097F7059}"/>
          </ac:spMkLst>
        </pc:spChg>
        <pc:picChg chg="add mod">
          <ac:chgData name="Philipp Ratz" userId="2cc21629dbc12aa6" providerId="LiveId" clId="{A2BE34F8-A076-624B-AAC3-58FCA3AE6AB0}" dt="2019-02-13T14:26:03.510" v="3328" actId="1076"/>
          <ac:picMkLst>
            <pc:docMk/>
            <pc:sldMk cId="2913239789" sldId="319"/>
            <ac:picMk id="39" creationId="{58A9A52D-8D34-F649-835E-0BB775A74106}"/>
          </ac:picMkLst>
        </pc:picChg>
        <pc:picChg chg="add mod">
          <ac:chgData name="Philipp Ratz" userId="2cc21629dbc12aa6" providerId="LiveId" clId="{A2BE34F8-A076-624B-AAC3-58FCA3AE6AB0}" dt="2019-02-13T14:26:56.177" v="3337" actId="14100"/>
          <ac:picMkLst>
            <pc:docMk/>
            <pc:sldMk cId="2913239789" sldId="319"/>
            <ac:picMk id="40" creationId="{D248352F-4B72-7944-AEAB-5CE54A5FEC31}"/>
          </ac:picMkLst>
        </pc:picChg>
        <pc:picChg chg="add mod">
          <ac:chgData name="Philipp Ratz" userId="2cc21629dbc12aa6" providerId="LiveId" clId="{A2BE34F8-A076-624B-AAC3-58FCA3AE6AB0}" dt="2019-02-13T14:27:34.920" v="3344" actId="1037"/>
          <ac:picMkLst>
            <pc:docMk/>
            <pc:sldMk cId="2913239789" sldId="319"/>
            <ac:picMk id="41" creationId="{C8A73806-1AFB-1042-BCA1-7AAE98DD9FD7}"/>
          </ac:picMkLst>
        </pc:picChg>
        <pc:cxnChg chg="mod">
          <ac:chgData name="Philipp Ratz" userId="2cc21629dbc12aa6" providerId="LiveId" clId="{A2BE34F8-A076-624B-AAC3-58FCA3AE6AB0}" dt="2019-02-13T14:25:11.741" v="3320" actId="14100"/>
          <ac:cxnSpMkLst>
            <pc:docMk/>
            <pc:sldMk cId="2913239789" sldId="319"/>
            <ac:cxnSpMk id="205" creationId="{E83AC2E8-C8A1-4CB5-993D-EFB9E5E5C3BA}"/>
          </ac:cxnSpMkLst>
        </pc:cxnChg>
        <pc:cxnChg chg="mod">
          <ac:chgData name="Philipp Ratz" userId="2cc21629dbc12aa6" providerId="LiveId" clId="{A2BE34F8-A076-624B-AAC3-58FCA3AE6AB0}" dt="2019-02-13T14:25:11.741" v="3320" actId="14100"/>
          <ac:cxnSpMkLst>
            <pc:docMk/>
            <pc:sldMk cId="2913239789" sldId="319"/>
            <ac:cxnSpMk id="207" creationId="{B99F9FBE-CA24-48CE-8F87-36F8C3FD98E6}"/>
          </ac:cxnSpMkLst>
        </pc:cxnChg>
        <pc:cxnChg chg="mod">
          <ac:chgData name="Philipp Ratz" userId="2cc21629dbc12aa6" providerId="LiveId" clId="{A2BE34F8-A076-624B-AAC3-58FCA3AE6AB0}" dt="2019-02-13T14:25:11.741" v="3320" actId="14100"/>
          <ac:cxnSpMkLst>
            <pc:docMk/>
            <pc:sldMk cId="2913239789" sldId="319"/>
            <ac:cxnSpMk id="209" creationId="{E46D5B3C-3E73-4948-9556-E89CEC601A0C}"/>
          </ac:cxnSpMkLst>
        </pc:cxnChg>
        <pc:cxnChg chg="mod">
          <ac:chgData name="Philipp Ratz" userId="2cc21629dbc12aa6" providerId="LiveId" clId="{A2BE34F8-A076-624B-AAC3-58FCA3AE6AB0}" dt="2019-02-13T14:25:11.741" v="3320" actId="14100"/>
          <ac:cxnSpMkLst>
            <pc:docMk/>
            <pc:sldMk cId="2913239789" sldId="319"/>
            <ac:cxnSpMk id="231" creationId="{D3E14455-371A-419C-90E8-2B741588D209}"/>
          </ac:cxnSpMkLst>
        </pc:cxnChg>
      </pc:sldChg>
      <pc:sldChg chg="modSp addCm modCm">
        <pc:chgData name="Philipp Ratz" userId="2cc21629dbc12aa6" providerId="LiveId" clId="{A2BE34F8-A076-624B-AAC3-58FCA3AE6AB0}" dt="2019-02-13T14:31:01.061" v="3351" actId="113"/>
        <pc:sldMkLst>
          <pc:docMk/>
          <pc:sldMk cId="3267112402" sldId="329"/>
        </pc:sldMkLst>
        <pc:spChg chg="mod">
          <ac:chgData name="Philipp Ratz" userId="2cc21629dbc12aa6" providerId="LiveId" clId="{A2BE34F8-A076-624B-AAC3-58FCA3AE6AB0}" dt="2019-02-13T14:30:54.351" v="3350" actId="113"/>
          <ac:spMkLst>
            <pc:docMk/>
            <pc:sldMk cId="3267112402" sldId="329"/>
            <ac:spMk id="3" creationId="{71E56A8F-F25F-4770-9E7F-4AFA7E8C3B46}"/>
          </ac:spMkLst>
        </pc:spChg>
        <pc:spChg chg="mod">
          <ac:chgData name="Philipp Ratz" userId="2cc21629dbc12aa6" providerId="LiveId" clId="{A2BE34F8-A076-624B-AAC3-58FCA3AE6AB0}" dt="2019-02-13T14:31:01.061" v="3351" actId="113"/>
          <ac:spMkLst>
            <pc:docMk/>
            <pc:sldMk cId="3267112402" sldId="329"/>
            <ac:spMk id="12" creationId="{11477FC5-D250-4716-BC81-B39128E8B014}"/>
          </ac:spMkLst>
        </pc:spChg>
      </pc:sldChg>
      <pc:sldChg chg="modSp addCm modCm">
        <pc:chgData name="Philipp Ratz" userId="2cc21629dbc12aa6" providerId="LiveId" clId="{A2BE34F8-A076-624B-AAC3-58FCA3AE6AB0}" dt="2019-02-10T18:04:09.572" v="3096" actId="14100"/>
        <pc:sldMkLst>
          <pc:docMk/>
          <pc:sldMk cId="1591283079" sldId="344"/>
        </pc:sldMkLst>
        <pc:spChg chg="mod">
          <ac:chgData name="Philipp Ratz" userId="2cc21629dbc12aa6" providerId="LiveId" clId="{A2BE34F8-A076-624B-AAC3-58FCA3AE6AB0}" dt="2019-02-10T18:04:09.572" v="3096" actId="14100"/>
          <ac:spMkLst>
            <pc:docMk/>
            <pc:sldMk cId="1591283079" sldId="344"/>
            <ac:spMk id="4" creationId="{02E8447B-2B07-4E44-9509-E107F1F88187}"/>
          </ac:spMkLst>
        </pc:spChg>
        <pc:spChg chg="mod">
          <ac:chgData name="Philipp Ratz" userId="2cc21629dbc12aa6" providerId="LiveId" clId="{A2BE34F8-A076-624B-AAC3-58FCA3AE6AB0}" dt="2019-02-07T10:04:22.191" v="92" actId="1036"/>
          <ac:spMkLst>
            <pc:docMk/>
            <pc:sldMk cId="1591283079" sldId="344"/>
            <ac:spMk id="19" creationId="{685447C9-92A8-4CD8-AC7A-919FF451385C}"/>
          </ac:spMkLst>
        </pc:spChg>
        <pc:spChg chg="mod">
          <ac:chgData name="Philipp Ratz" userId="2cc21629dbc12aa6" providerId="LiveId" clId="{A2BE34F8-A076-624B-AAC3-58FCA3AE6AB0}" dt="2019-02-07T10:03:26.089" v="63" actId="1038"/>
          <ac:spMkLst>
            <pc:docMk/>
            <pc:sldMk cId="1591283079" sldId="344"/>
            <ac:spMk id="20" creationId="{75D24880-566C-4DF7-917D-36AEF4E53F10}"/>
          </ac:spMkLst>
        </pc:spChg>
        <pc:spChg chg="mod">
          <ac:chgData name="Philipp Ratz" userId="2cc21629dbc12aa6" providerId="LiveId" clId="{A2BE34F8-A076-624B-AAC3-58FCA3AE6AB0}" dt="2019-02-07T10:03:39.632" v="78" actId="1037"/>
          <ac:spMkLst>
            <pc:docMk/>
            <pc:sldMk cId="1591283079" sldId="344"/>
            <ac:spMk id="21" creationId="{EC1551A9-95E5-45D8-8DD3-B9A456EF5436}"/>
          </ac:spMkLst>
        </pc:spChg>
        <pc:spChg chg="mod">
          <ac:chgData name="Philipp Ratz" userId="2cc21629dbc12aa6" providerId="LiveId" clId="{A2BE34F8-A076-624B-AAC3-58FCA3AE6AB0}" dt="2019-02-07T10:03:14.946" v="53" actId="404"/>
          <ac:spMkLst>
            <pc:docMk/>
            <pc:sldMk cId="1591283079" sldId="344"/>
            <ac:spMk id="23" creationId="{5D28115B-67FD-426E-98C7-6C501EC5C275}"/>
          </ac:spMkLst>
        </pc:spChg>
        <pc:spChg chg="mod">
          <ac:chgData name="Philipp Ratz" userId="2cc21629dbc12aa6" providerId="LiveId" clId="{A2BE34F8-A076-624B-AAC3-58FCA3AE6AB0}" dt="2019-02-07T10:03:50.333" v="79" actId="20577"/>
          <ac:spMkLst>
            <pc:docMk/>
            <pc:sldMk cId="1591283079" sldId="344"/>
            <ac:spMk id="25" creationId="{3FE8577F-A0B2-4DB6-A613-481C6A28E2B7}"/>
          </ac:spMkLst>
        </pc:spChg>
        <pc:spChg chg="mod">
          <ac:chgData name="Philipp Ratz" userId="2cc21629dbc12aa6" providerId="LiveId" clId="{A2BE34F8-A076-624B-AAC3-58FCA3AE6AB0}" dt="2019-02-07T10:03:14.946" v="53" actId="404"/>
          <ac:spMkLst>
            <pc:docMk/>
            <pc:sldMk cId="1591283079" sldId="344"/>
            <ac:spMk id="31" creationId="{7A5BEFDA-3455-489F-BACE-00C0A435D840}"/>
          </ac:spMkLst>
        </pc:spChg>
        <pc:spChg chg="mod">
          <ac:chgData name="Philipp Ratz" userId="2cc21629dbc12aa6" providerId="LiveId" clId="{A2BE34F8-A076-624B-AAC3-58FCA3AE6AB0}" dt="2019-02-07T10:03:14.946" v="53" actId="404"/>
          <ac:spMkLst>
            <pc:docMk/>
            <pc:sldMk cId="1591283079" sldId="344"/>
            <ac:spMk id="34" creationId="{533045B1-7E20-4968-97D6-18A80D51074D}"/>
          </ac:spMkLst>
        </pc:spChg>
        <pc:spChg chg="mod">
          <ac:chgData name="Philipp Ratz" userId="2cc21629dbc12aa6" providerId="LiveId" clId="{A2BE34F8-A076-624B-AAC3-58FCA3AE6AB0}" dt="2019-02-07T10:03:14.946" v="53" actId="404"/>
          <ac:spMkLst>
            <pc:docMk/>
            <pc:sldMk cId="1591283079" sldId="344"/>
            <ac:spMk id="36" creationId="{26F6D9C2-CCA5-4C4C-870C-D3A2B9CAFABC}"/>
          </ac:spMkLst>
        </pc:spChg>
        <pc:spChg chg="mod">
          <ac:chgData name="Philipp Ratz" userId="2cc21629dbc12aa6" providerId="LiveId" clId="{A2BE34F8-A076-624B-AAC3-58FCA3AE6AB0}" dt="2019-02-07T10:03:52.766" v="80" actId="20577"/>
          <ac:spMkLst>
            <pc:docMk/>
            <pc:sldMk cId="1591283079" sldId="344"/>
            <ac:spMk id="38" creationId="{121FE0E2-2497-4DE9-834A-F84CD5FC758F}"/>
          </ac:spMkLst>
        </pc:spChg>
        <pc:spChg chg="mod">
          <ac:chgData name="Philipp Ratz" userId="2cc21629dbc12aa6" providerId="LiveId" clId="{A2BE34F8-A076-624B-AAC3-58FCA3AE6AB0}" dt="2019-02-07T10:04:43.375" v="99" actId="404"/>
          <ac:spMkLst>
            <pc:docMk/>
            <pc:sldMk cId="1591283079" sldId="344"/>
            <ac:spMk id="42" creationId="{FAFA5BBD-0900-4B24-87CA-5A3E17E036FE}"/>
          </ac:spMkLst>
        </pc:spChg>
        <pc:spChg chg="mod">
          <ac:chgData name="Philipp Ratz" userId="2cc21629dbc12aa6" providerId="LiveId" clId="{A2BE34F8-A076-624B-AAC3-58FCA3AE6AB0}" dt="2019-02-07T10:04:43.375" v="99" actId="404"/>
          <ac:spMkLst>
            <pc:docMk/>
            <pc:sldMk cId="1591283079" sldId="344"/>
            <ac:spMk id="44" creationId="{0794FE15-FB41-418B-B750-881768A47470}"/>
          </ac:spMkLst>
        </pc:spChg>
        <pc:spChg chg="mod">
          <ac:chgData name="Philipp Ratz" userId="2cc21629dbc12aa6" providerId="LiveId" clId="{A2BE34F8-A076-624B-AAC3-58FCA3AE6AB0}" dt="2019-02-07T10:04:54.504" v="105" actId="1036"/>
          <ac:spMkLst>
            <pc:docMk/>
            <pc:sldMk cId="1591283079" sldId="344"/>
            <ac:spMk id="46" creationId="{3E456B45-A718-4AE8-A322-03480DB2EFE2}"/>
          </ac:spMkLst>
        </pc:spChg>
        <pc:spChg chg="mod">
          <ac:chgData name="Philipp Ratz" userId="2cc21629dbc12aa6" providerId="LiveId" clId="{A2BE34F8-A076-624B-AAC3-58FCA3AE6AB0}" dt="2019-02-07T10:03:14.946" v="53" actId="404"/>
          <ac:spMkLst>
            <pc:docMk/>
            <pc:sldMk cId="1591283079" sldId="344"/>
            <ac:spMk id="47" creationId="{CD044DE1-CCED-481C-AEBE-08C445BD4587}"/>
          </ac:spMkLst>
        </pc:spChg>
        <pc:picChg chg="mod">
          <ac:chgData name="Philipp Ratz" userId="2cc21629dbc12aa6" providerId="LiveId" clId="{A2BE34F8-A076-624B-AAC3-58FCA3AE6AB0}" dt="2019-02-07T10:04:30.868" v="98" actId="1036"/>
          <ac:picMkLst>
            <pc:docMk/>
            <pc:sldMk cId="1591283079" sldId="344"/>
            <ac:picMk id="7" creationId="{58B5524C-FA3B-4BB6-A82C-A1BD215BAFDA}"/>
          </ac:picMkLst>
        </pc:picChg>
        <pc:picChg chg="mod">
          <ac:chgData name="Philipp Ratz" userId="2cc21629dbc12aa6" providerId="LiveId" clId="{A2BE34F8-A076-624B-AAC3-58FCA3AE6AB0}" dt="2019-02-07T10:04:30.868" v="98" actId="1036"/>
          <ac:picMkLst>
            <pc:docMk/>
            <pc:sldMk cId="1591283079" sldId="344"/>
            <ac:picMk id="9" creationId="{1D31F990-10F3-4E3F-8518-B4AB6BF93DE6}"/>
          </ac:picMkLst>
        </pc:picChg>
        <pc:picChg chg="mod">
          <ac:chgData name="Philipp Ratz" userId="2cc21629dbc12aa6" providerId="LiveId" clId="{A2BE34F8-A076-624B-AAC3-58FCA3AE6AB0}" dt="2019-02-07T10:03:26.089" v="63" actId="1038"/>
          <ac:picMkLst>
            <pc:docMk/>
            <pc:sldMk cId="1591283079" sldId="344"/>
            <ac:picMk id="11" creationId="{D0A7AB0B-C0F0-4287-8EAB-1CCF947D567E}"/>
          </ac:picMkLst>
        </pc:picChg>
        <pc:picChg chg="mod">
          <ac:chgData name="Philipp Ratz" userId="2cc21629dbc12aa6" providerId="LiveId" clId="{A2BE34F8-A076-624B-AAC3-58FCA3AE6AB0}" dt="2019-02-07T10:04:30.868" v="98" actId="1036"/>
          <ac:picMkLst>
            <pc:docMk/>
            <pc:sldMk cId="1591283079" sldId="344"/>
            <ac:picMk id="30" creationId="{1FBD0A06-623C-4405-99D3-E1865E50AC2A}"/>
          </ac:picMkLst>
        </pc:picChg>
        <pc:picChg chg="mod">
          <ac:chgData name="Philipp Ratz" userId="2cc21629dbc12aa6" providerId="LiveId" clId="{A2BE34F8-A076-624B-AAC3-58FCA3AE6AB0}" dt="2019-02-07T10:03:35.279" v="71" actId="1038"/>
          <ac:picMkLst>
            <pc:docMk/>
            <pc:sldMk cId="1591283079" sldId="344"/>
            <ac:picMk id="41" creationId="{67DE8E7F-53A3-4194-AAA7-B6E826A9236F}"/>
          </ac:picMkLst>
        </pc:picChg>
      </pc:sldChg>
      <pc:sldChg chg="modSp">
        <pc:chgData name="Philipp Ratz" userId="2cc21629dbc12aa6" providerId="LiveId" clId="{A2BE34F8-A076-624B-AAC3-58FCA3AE6AB0}" dt="2019-02-13T16:07:58.825" v="4390" actId="20577"/>
        <pc:sldMkLst>
          <pc:docMk/>
          <pc:sldMk cId="3865210710" sldId="350"/>
        </pc:sldMkLst>
        <pc:spChg chg="mod">
          <ac:chgData name="Philipp Ratz" userId="2cc21629dbc12aa6" providerId="LiveId" clId="{A2BE34F8-A076-624B-AAC3-58FCA3AE6AB0}" dt="2019-02-13T16:07:58.825" v="4390" actId="20577"/>
          <ac:spMkLst>
            <pc:docMk/>
            <pc:sldMk cId="3865210710" sldId="350"/>
            <ac:spMk id="2" creationId="{98F38B9F-E885-4588-8BB7-816AAD317C04}"/>
          </ac:spMkLst>
        </pc:spChg>
        <pc:spChg chg="mod">
          <ac:chgData name="Philipp Ratz" userId="2cc21629dbc12aa6" providerId="LiveId" clId="{A2BE34F8-A076-624B-AAC3-58FCA3AE6AB0}" dt="2019-02-13T16:07:44.078" v="4379" actId="20577"/>
          <ac:spMkLst>
            <pc:docMk/>
            <pc:sldMk cId="3865210710" sldId="350"/>
            <ac:spMk id="8" creationId="{9986EDFC-A9C9-4543-BDB2-99831741B83D}"/>
          </ac:spMkLst>
        </pc:spChg>
      </pc:sldChg>
      <pc:sldChg chg="modSp">
        <pc:chgData name="Philipp Ratz" userId="2cc21629dbc12aa6" providerId="LiveId" clId="{A2BE34F8-A076-624B-AAC3-58FCA3AE6AB0}" dt="2019-02-10T13:49:50.875" v="3047" actId="20577"/>
        <pc:sldMkLst>
          <pc:docMk/>
          <pc:sldMk cId="2445467899" sldId="354"/>
        </pc:sldMkLst>
        <pc:graphicFrameChg chg="mod">
          <ac:chgData name="Philipp Ratz" userId="2cc21629dbc12aa6" providerId="LiveId" clId="{A2BE34F8-A076-624B-AAC3-58FCA3AE6AB0}" dt="2019-02-10T13:49:50.875" v="3047" actId="20577"/>
          <ac:graphicFrameMkLst>
            <pc:docMk/>
            <pc:sldMk cId="2445467899" sldId="354"/>
            <ac:graphicFrameMk id="6" creationId="{E23E960C-DFD2-4B3F-B6E1-AEE2E99ACDBF}"/>
          </ac:graphicFrameMkLst>
        </pc:graphicFrameChg>
      </pc:sldChg>
      <pc:sldChg chg="addSp delSp modSp add">
        <pc:chgData name="Philipp Ratz" userId="2cc21629dbc12aa6" providerId="LiveId" clId="{A2BE34F8-A076-624B-AAC3-58FCA3AE6AB0}" dt="2019-02-10T18:01:35.654" v="3082" actId="6549"/>
        <pc:sldMkLst>
          <pc:docMk/>
          <pc:sldMk cId="2274450700" sldId="356"/>
        </pc:sldMkLst>
        <pc:spChg chg="mod">
          <ac:chgData name="Philipp Ratz" userId="2cc21629dbc12aa6" providerId="LiveId" clId="{A2BE34F8-A076-624B-AAC3-58FCA3AE6AB0}" dt="2019-02-09T15:44:27.156" v="960" actId="20577"/>
          <ac:spMkLst>
            <pc:docMk/>
            <pc:sldMk cId="2274450700" sldId="356"/>
            <ac:spMk id="2" creationId="{9DA2405F-87E2-D745-976C-A6ADD967D7CC}"/>
          </ac:spMkLst>
        </pc:spChg>
        <pc:spChg chg="del mod">
          <ac:chgData name="Philipp Ratz" userId="2cc21629dbc12aa6" providerId="LiveId" clId="{A2BE34F8-A076-624B-AAC3-58FCA3AE6AB0}" dt="2019-02-09T15:29:41.454" v="366" actId="478"/>
          <ac:spMkLst>
            <pc:docMk/>
            <pc:sldMk cId="2274450700" sldId="356"/>
            <ac:spMk id="3" creationId="{40728C97-5ECF-4045-AD57-A1551FB67D2E}"/>
          </ac:spMkLst>
        </pc:spChg>
        <pc:spChg chg="add del mod">
          <ac:chgData name="Philipp Ratz" userId="2cc21629dbc12aa6" providerId="LiveId" clId="{A2BE34F8-A076-624B-AAC3-58FCA3AE6AB0}" dt="2019-02-09T15:29:43.518" v="367" actId="478"/>
          <ac:spMkLst>
            <pc:docMk/>
            <pc:sldMk cId="2274450700" sldId="356"/>
            <ac:spMk id="7" creationId="{A2D46F7B-6434-1445-95E6-A30E2B73206C}"/>
          </ac:spMkLst>
        </pc:spChg>
        <pc:spChg chg="add mod">
          <ac:chgData name="Philipp Ratz" userId="2cc21629dbc12aa6" providerId="LiveId" clId="{A2BE34F8-A076-624B-AAC3-58FCA3AE6AB0}" dt="2019-02-09T16:27:24.052" v="2067" actId="14100"/>
          <ac:spMkLst>
            <pc:docMk/>
            <pc:sldMk cId="2274450700" sldId="356"/>
            <ac:spMk id="8" creationId="{57A2221B-BDDD-C04C-85F6-9D03262C8624}"/>
          </ac:spMkLst>
        </pc:spChg>
        <pc:spChg chg="add del">
          <ac:chgData name="Philipp Ratz" userId="2cc21629dbc12aa6" providerId="LiveId" clId="{A2BE34F8-A076-624B-AAC3-58FCA3AE6AB0}" dt="2019-02-09T15:31:12.863" v="375" actId="478"/>
          <ac:spMkLst>
            <pc:docMk/>
            <pc:sldMk cId="2274450700" sldId="356"/>
            <ac:spMk id="9" creationId="{CC159277-6668-644E-ACC3-C618D4F6BB29}"/>
          </ac:spMkLst>
        </pc:spChg>
        <pc:spChg chg="add mod">
          <ac:chgData name="Philipp Ratz" userId="2cc21629dbc12aa6" providerId="LiveId" clId="{A2BE34F8-A076-624B-AAC3-58FCA3AE6AB0}" dt="2019-02-09T15:58:48.042" v="1296" actId="1035"/>
          <ac:spMkLst>
            <pc:docMk/>
            <pc:sldMk cId="2274450700" sldId="356"/>
            <ac:spMk id="10" creationId="{3BA8B640-946F-D848-A106-735AC34692FF}"/>
          </ac:spMkLst>
        </pc:spChg>
        <pc:spChg chg="add mod">
          <ac:chgData name="Philipp Ratz" userId="2cc21629dbc12aa6" providerId="LiveId" clId="{A2BE34F8-A076-624B-AAC3-58FCA3AE6AB0}" dt="2019-02-09T16:28:26.221" v="2111" actId="1036"/>
          <ac:spMkLst>
            <pc:docMk/>
            <pc:sldMk cId="2274450700" sldId="356"/>
            <ac:spMk id="11" creationId="{DD716E22-F428-1147-B7C0-54FAB28310C2}"/>
          </ac:spMkLst>
        </pc:spChg>
        <pc:spChg chg="add del mod">
          <ac:chgData name="Philipp Ratz" userId="2cc21629dbc12aa6" providerId="LiveId" clId="{A2BE34F8-A076-624B-AAC3-58FCA3AE6AB0}" dt="2019-02-09T15:42:00.838" v="793" actId="478"/>
          <ac:spMkLst>
            <pc:docMk/>
            <pc:sldMk cId="2274450700" sldId="356"/>
            <ac:spMk id="12" creationId="{4BCB7E9C-0B0C-9646-8C10-E9ED4CC6AA1E}"/>
          </ac:spMkLst>
        </pc:spChg>
        <pc:spChg chg="add mod">
          <ac:chgData name="Philipp Ratz" userId="2cc21629dbc12aa6" providerId="LiveId" clId="{A2BE34F8-A076-624B-AAC3-58FCA3AE6AB0}" dt="2019-02-09T16:27:24.052" v="2067" actId="14100"/>
          <ac:spMkLst>
            <pc:docMk/>
            <pc:sldMk cId="2274450700" sldId="356"/>
            <ac:spMk id="13" creationId="{210DEEF4-87EA-2644-9052-12C3BC62347E}"/>
          </ac:spMkLst>
        </pc:spChg>
        <pc:spChg chg="add mod">
          <ac:chgData name="Philipp Ratz" userId="2cc21629dbc12aa6" providerId="LiveId" clId="{A2BE34F8-A076-624B-AAC3-58FCA3AE6AB0}" dt="2019-02-09T15:58:48.042" v="1296" actId="1035"/>
          <ac:spMkLst>
            <pc:docMk/>
            <pc:sldMk cId="2274450700" sldId="356"/>
            <ac:spMk id="14" creationId="{928F0D0D-2BB3-334F-A4AE-FA4EB2E6D64A}"/>
          </ac:spMkLst>
        </pc:spChg>
        <pc:spChg chg="add mod">
          <ac:chgData name="Philipp Ratz" userId="2cc21629dbc12aa6" providerId="LiveId" clId="{A2BE34F8-A076-624B-AAC3-58FCA3AE6AB0}" dt="2019-02-10T18:01:35.654" v="3082" actId="6549"/>
          <ac:spMkLst>
            <pc:docMk/>
            <pc:sldMk cId="2274450700" sldId="356"/>
            <ac:spMk id="15" creationId="{E2BF6EAD-F267-C54C-A8A0-D5AF8BC5D433}"/>
          </ac:spMkLst>
        </pc:spChg>
        <pc:spChg chg="add mod">
          <ac:chgData name="Philipp Ratz" userId="2cc21629dbc12aa6" providerId="LiveId" clId="{A2BE34F8-A076-624B-AAC3-58FCA3AE6AB0}" dt="2019-02-09T16:27:24.052" v="2067" actId="14100"/>
          <ac:spMkLst>
            <pc:docMk/>
            <pc:sldMk cId="2274450700" sldId="356"/>
            <ac:spMk id="16" creationId="{775BDEA2-F886-7942-B3D3-64C978671C16}"/>
          </ac:spMkLst>
        </pc:spChg>
        <pc:spChg chg="add mod">
          <ac:chgData name="Philipp Ratz" userId="2cc21629dbc12aa6" providerId="LiveId" clId="{A2BE34F8-A076-624B-AAC3-58FCA3AE6AB0}" dt="2019-02-09T15:58:48.042" v="1296" actId="1035"/>
          <ac:spMkLst>
            <pc:docMk/>
            <pc:sldMk cId="2274450700" sldId="356"/>
            <ac:spMk id="17" creationId="{71FE6B76-84B1-5B43-A6FA-DE9D4853BEAD}"/>
          </ac:spMkLst>
        </pc:spChg>
        <pc:spChg chg="add mod">
          <ac:chgData name="Philipp Ratz" userId="2cc21629dbc12aa6" providerId="LiveId" clId="{A2BE34F8-A076-624B-AAC3-58FCA3AE6AB0}" dt="2019-02-09T16:28:26.221" v="2111" actId="1036"/>
          <ac:spMkLst>
            <pc:docMk/>
            <pc:sldMk cId="2274450700" sldId="356"/>
            <ac:spMk id="18" creationId="{1DF9A93D-B70F-FF45-8A97-1CF707E67733}"/>
          </ac:spMkLst>
        </pc:spChg>
        <pc:spChg chg="add del mod">
          <ac:chgData name="Philipp Ratz" userId="2cc21629dbc12aa6" providerId="LiveId" clId="{A2BE34F8-A076-624B-AAC3-58FCA3AE6AB0}" dt="2019-02-09T15:52:34.795" v="1240" actId="478"/>
          <ac:spMkLst>
            <pc:docMk/>
            <pc:sldMk cId="2274450700" sldId="356"/>
            <ac:spMk id="19" creationId="{A6DA73B3-85AD-0E43-AD58-336E248FE1BD}"/>
          </ac:spMkLst>
        </pc:spChg>
        <pc:picChg chg="add del mod">
          <ac:chgData name="Philipp Ratz" userId="2cc21629dbc12aa6" providerId="LiveId" clId="{A2BE34F8-A076-624B-AAC3-58FCA3AE6AB0}" dt="2019-02-09T15:54:01.553" v="1245" actId="478"/>
          <ac:picMkLst>
            <pc:docMk/>
            <pc:sldMk cId="2274450700" sldId="356"/>
            <ac:picMk id="21" creationId="{0A0FCA1C-E6C2-B74D-85CC-6C0838AA6A01}"/>
          </ac:picMkLst>
        </pc:picChg>
        <pc:picChg chg="add mod">
          <ac:chgData name="Philipp Ratz" userId="2cc21629dbc12aa6" providerId="LiveId" clId="{A2BE34F8-A076-624B-AAC3-58FCA3AE6AB0}" dt="2019-02-09T16:27:30.922" v="2090" actId="1036"/>
          <ac:picMkLst>
            <pc:docMk/>
            <pc:sldMk cId="2274450700" sldId="356"/>
            <ac:picMk id="23" creationId="{52BADF92-63BD-634B-87CA-3329BD40D54A}"/>
          </ac:picMkLst>
        </pc:picChg>
        <pc:picChg chg="add mod">
          <ac:chgData name="Philipp Ratz" userId="2cc21629dbc12aa6" providerId="LiveId" clId="{A2BE34F8-A076-624B-AAC3-58FCA3AE6AB0}" dt="2019-02-09T16:27:30.922" v="2090" actId="1036"/>
          <ac:picMkLst>
            <pc:docMk/>
            <pc:sldMk cId="2274450700" sldId="356"/>
            <ac:picMk id="25" creationId="{E70BBF88-BD0F-7C44-96FB-ACB27F25412A}"/>
          </ac:picMkLst>
        </pc:picChg>
        <pc:picChg chg="add mod">
          <ac:chgData name="Philipp Ratz" userId="2cc21629dbc12aa6" providerId="LiveId" clId="{A2BE34F8-A076-624B-AAC3-58FCA3AE6AB0}" dt="2019-02-09T16:27:30.922" v="2090" actId="1036"/>
          <ac:picMkLst>
            <pc:docMk/>
            <pc:sldMk cId="2274450700" sldId="356"/>
            <ac:picMk id="27" creationId="{F8A19657-C812-5A45-BF65-B2F0993B9B41}"/>
          </ac:picMkLst>
        </pc:picChg>
      </pc:sldChg>
      <pc:sldChg chg="modSp">
        <pc:chgData name="Philipp Ratz" userId="2cc21629dbc12aa6" providerId="LiveId" clId="{A2BE34F8-A076-624B-AAC3-58FCA3AE6AB0}" dt="2019-02-07T10:31:06.960" v="361" actId="20577"/>
        <pc:sldMkLst>
          <pc:docMk/>
          <pc:sldMk cId="4241012387" sldId="357"/>
        </pc:sldMkLst>
        <pc:spChg chg="mod">
          <ac:chgData name="Philipp Ratz" userId="2cc21629dbc12aa6" providerId="LiveId" clId="{A2BE34F8-A076-624B-AAC3-58FCA3AE6AB0}" dt="2019-02-07T10:31:06.960" v="361" actId="20577"/>
          <ac:spMkLst>
            <pc:docMk/>
            <pc:sldMk cId="4241012387" sldId="357"/>
            <ac:spMk id="3" creationId="{096CD252-F124-4A79-ADCD-AF2D3EDD1643}"/>
          </ac:spMkLst>
        </pc:spChg>
      </pc:sldChg>
      <pc:sldChg chg="addCm modCm">
        <pc:chgData name="Philipp Ratz" userId="2cc21629dbc12aa6" providerId="LiveId" clId="{A2BE34F8-A076-624B-AAC3-58FCA3AE6AB0}" dt="2019-02-09T15:29:13.966" v="365"/>
        <pc:sldMkLst>
          <pc:docMk/>
          <pc:sldMk cId="3496777796" sldId="359"/>
        </pc:sldMkLst>
      </pc:sldChg>
      <pc:sldChg chg="addSp delSp modSp add">
        <pc:chgData name="Philipp Ratz" userId="2cc21629dbc12aa6" providerId="LiveId" clId="{A2BE34F8-A076-624B-AAC3-58FCA3AE6AB0}" dt="2019-02-10T18:07:14.842" v="3109" actId="478"/>
        <pc:sldMkLst>
          <pc:docMk/>
          <pc:sldMk cId="1802135091" sldId="361"/>
        </pc:sldMkLst>
        <pc:spChg chg="mod">
          <ac:chgData name="Philipp Ratz" userId="2cc21629dbc12aa6" providerId="LiveId" clId="{A2BE34F8-A076-624B-AAC3-58FCA3AE6AB0}" dt="2019-02-09T16:16:04.767" v="1923" actId="20577"/>
          <ac:spMkLst>
            <pc:docMk/>
            <pc:sldMk cId="1802135091" sldId="361"/>
            <ac:spMk id="2" creationId="{28CAB685-70DC-8642-8DD0-765C83A4DD59}"/>
          </ac:spMkLst>
        </pc:spChg>
        <pc:spChg chg="mod">
          <ac:chgData name="Philipp Ratz" userId="2cc21629dbc12aa6" providerId="LiveId" clId="{A2BE34F8-A076-624B-AAC3-58FCA3AE6AB0}" dt="2019-02-09T16:26:44.459" v="2066" actId="948"/>
          <ac:spMkLst>
            <pc:docMk/>
            <pc:sldMk cId="1802135091" sldId="361"/>
            <ac:spMk id="3" creationId="{6735505F-6BC6-DA4C-A854-1BE7A7732FAE}"/>
          </ac:spMkLst>
        </pc:spChg>
        <pc:spChg chg="add del mod">
          <ac:chgData name="Philipp Ratz" userId="2cc21629dbc12aa6" providerId="LiveId" clId="{A2BE34F8-A076-624B-AAC3-58FCA3AE6AB0}" dt="2019-02-09T16:20:07.846" v="2058"/>
          <ac:spMkLst>
            <pc:docMk/>
            <pc:sldMk cId="1802135091" sldId="361"/>
            <ac:spMk id="6" creationId="{56DC27A5-3B6D-8E44-9595-4B14D4269B59}"/>
          </ac:spMkLst>
        </pc:spChg>
        <pc:spChg chg="add del mod">
          <ac:chgData name="Philipp Ratz" userId="2cc21629dbc12aa6" providerId="LiveId" clId="{A2BE34F8-A076-624B-AAC3-58FCA3AE6AB0}" dt="2019-02-10T17:57:13.955" v="3050" actId="478"/>
          <ac:spMkLst>
            <pc:docMk/>
            <pc:sldMk cId="1802135091" sldId="361"/>
            <ac:spMk id="7" creationId="{51231209-E221-8849-81FE-1C61A39BBE1C}"/>
          </ac:spMkLst>
        </pc:spChg>
        <pc:spChg chg="add del mod">
          <ac:chgData name="Philipp Ratz" userId="2cc21629dbc12aa6" providerId="LiveId" clId="{A2BE34F8-A076-624B-AAC3-58FCA3AE6AB0}" dt="2019-02-10T18:06:55.202" v="3106" actId="478"/>
          <ac:spMkLst>
            <pc:docMk/>
            <pc:sldMk cId="1802135091" sldId="361"/>
            <ac:spMk id="9" creationId="{1D49F3A5-F7BD-5C46-834A-0AF467B3FEEF}"/>
          </ac:spMkLst>
        </pc:spChg>
        <pc:spChg chg="add del mod">
          <ac:chgData name="Philipp Ratz" userId="2cc21629dbc12aa6" providerId="LiveId" clId="{A2BE34F8-A076-624B-AAC3-58FCA3AE6AB0}" dt="2019-02-10T18:07:10.925" v="3107" actId="478"/>
          <ac:spMkLst>
            <pc:docMk/>
            <pc:sldMk cId="1802135091" sldId="361"/>
            <ac:spMk id="10" creationId="{7680E78A-EB04-F645-A45B-3469AEDD787F}"/>
          </ac:spMkLst>
        </pc:spChg>
        <pc:spChg chg="add del mod">
          <ac:chgData name="Philipp Ratz" userId="2cc21629dbc12aa6" providerId="LiveId" clId="{A2BE34F8-A076-624B-AAC3-58FCA3AE6AB0}" dt="2019-02-10T18:07:14.842" v="3109" actId="478"/>
          <ac:spMkLst>
            <pc:docMk/>
            <pc:sldMk cId="1802135091" sldId="361"/>
            <ac:spMk id="11" creationId="{ACE37774-27F1-C645-93E9-9DB614598867}"/>
          </ac:spMkLst>
        </pc:spChg>
        <pc:spChg chg="add del mod">
          <ac:chgData name="Philipp Ratz" userId="2cc21629dbc12aa6" providerId="LiveId" clId="{A2BE34F8-A076-624B-AAC3-58FCA3AE6AB0}" dt="2019-02-10T18:07:13.069" v="3108" actId="478"/>
          <ac:spMkLst>
            <pc:docMk/>
            <pc:sldMk cId="1802135091" sldId="361"/>
            <ac:spMk id="12" creationId="{6A88C15A-A922-694B-82F7-0B9490005D25}"/>
          </ac:spMkLst>
        </pc:spChg>
        <pc:spChg chg="add del mod">
          <ac:chgData name="Philipp Ratz" userId="2cc21629dbc12aa6" providerId="LiveId" clId="{A2BE34F8-A076-624B-AAC3-58FCA3AE6AB0}" dt="2019-02-10T18:06:53.528" v="3105" actId="478"/>
          <ac:spMkLst>
            <pc:docMk/>
            <pc:sldMk cId="1802135091" sldId="361"/>
            <ac:spMk id="13" creationId="{AE95EB13-FB2F-8D48-8D4A-F58F9AC65248}"/>
          </ac:spMkLst>
        </pc:spChg>
        <pc:picChg chg="mod">
          <ac:chgData name="Philipp Ratz" userId="2cc21629dbc12aa6" providerId="LiveId" clId="{A2BE34F8-A076-624B-AAC3-58FCA3AE6AB0}" dt="2019-02-10T17:58:17.059" v="3064" actId="1076"/>
          <ac:picMkLst>
            <pc:docMk/>
            <pc:sldMk cId="1802135091" sldId="361"/>
            <ac:picMk id="8" creationId="{756C2429-EBCA-4308-9002-D2D4233E90C8}"/>
          </ac:picMkLst>
        </pc:picChg>
      </pc:sldChg>
      <pc:sldChg chg="addSp delSp modSp">
        <pc:chgData name="Philipp Ratz" userId="2cc21629dbc12aa6" providerId="LiveId" clId="{A2BE34F8-A076-624B-AAC3-58FCA3AE6AB0}" dt="2019-02-13T14:28:23.537" v="3349" actId="1076"/>
        <pc:sldMkLst>
          <pc:docMk/>
          <pc:sldMk cId="690796981" sldId="363"/>
        </pc:sldMkLst>
        <pc:picChg chg="add del mod">
          <ac:chgData name="Philipp Ratz" userId="2cc21629dbc12aa6" providerId="LiveId" clId="{A2BE34F8-A076-624B-AAC3-58FCA3AE6AB0}" dt="2019-02-13T14:19:56.284" v="3306" actId="478"/>
          <ac:picMkLst>
            <pc:docMk/>
            <pc:sldMk cId="690796981" sldId="363"/>
            <ac:picMk id="5" creationId="{83C2FF86-938A-9545-AE67-45ECC805A388}"/>
          </ac:picMkLst>
        </pc:picChg>
        <pc:picChg chg="add del mod">
          <ac:chgData name="Philipp Ratz" userId="2cc21629dbc12aa6" providerId="LiveId" clId="{A2BE34F8-A076-624B-AAC3-58FCA3AE6AB0}" dt="2019-02-13T14:28:20.265" v="3348" actId="478"/>
          <ac:picMkLst>
            <pc:docMk/>
            <pc:sldMk cId="690796981" sldId="363"/>
            <ac:picMk id="8" creationId="{E79E79CC-A74D-EF4A-B484-AE03BA258F9D}"/>
          </ac:picMkLst>
        </pc:picChg>
        <pc:picChg chg="add mod">
          <ac:chgData name="Philipp Ratz" userId="2cc21629dbc12aa6" providerId="LiveId" clId="{A2BE34F8-A076-624B-AAC3-58FCA3AE6AB0}" dt="2019-02-13T14:28:23.537" v="3349" actId="1076"/>
          <ac:picMkLst>
            <pc:docMk/>
            <pc:sldMk cId="690796981" sldId="363"/>
            <ac:picMk id="11" creationId="{9A4EC25B-0A41-C941-878E-48BE77DD20FE}"/>
          </ac:picMkLst>
        </pc:picChg>
        <pc:picChg chg="add del">
          <ac:chgData name="Philipp Ratz" userId="2cc21629dbc12aa6" providerId="LiveId" clId="{A2BE34F8-A076-624B-AAC3-58FCA3AE6AB0}" dt="2019-02-13T14:20:04.700" v="3309" actId="478"/>
          <ac:picMkLst>
            <pc:docMk/>
            <pc:sldMk cId="690796981" sldId="363"/>
            <ac:picMk id="29" creationId="{6AEE589E-ED14-4DD1-BD8B-AD14D99F6826}"/>
          </ac:picMkLst>
        </pc:picChg>
      </pc:sldChg>
      <pc:sldChg chg="modSp">
        <pc:chgData name="Philipp Ratz" userId="2cc21629dbc12aa6" providerId="LiveId" clId="{A2BE34F8-A076-624B-AAC3-58FCA3AE6AB0}" dt="2019-02-10T18:11:53.472" v="3123" actId="20577"/>
        <pc:sldMkLst>
          <pc:docMk/>
          <pc:sldMk cId="449367235" sldId="365"/>
        </pc:sldMkLst>
        <pc:graphicFrameChg chg="mod">
          <ac:chgData name="Philipp Ratz" userId="2cc21629dbc12aa6" providerId="LiveId" clId="{A2BE34F8-A076-624B-AAC3-58FCA3AE6AB0}" dt="2019-02-10T18:11:53.472" v="3123" actId="20577"/>
          <ac:graphicFrameMkLst>
            <pc:docMk/>
            <pc:sldMk cId="449367235" sldId="365"/>
            <ac:graphicFrameMk id="9" creationId="{E96D0E1C-AC19-47B3-8AB2-9FD14F283717}"/>
          </ac:graphicFrameMkLst>
        </pc:graphicFrameChg>
      </pc:sldChg>
      <pc:sldChg chg="addSp delSp modSp">
        <pc:chgData name="Philipp Ratz" userId="2cc21629dbc12aa6" providerId="LiveId" clId="{A2BE34F8-A076-624B-AAC3-58FCA3AE6AB0}" dt="2019-02-13T16:44:02.351" v="4632" actId="1035"/>
        <pc:sldMkLst>
          <pc:docMk/>
          <pc:sldMk cId="3751617013" sldId="372"/>
        </pc:sldMkLst>
        <pc:spChg chg="mod">
          <ac:chgData name="Philipp Ratz" userId="2cc21629dbc12aa6" providerId="LiveId" clId="{A2BE34F8-A076-624B-AAC3-58FCA3AE6AB0}" dt="2019-02-13T16:43:48.187" v="4625" actId="1037"/>
          <ac:spMkLst>
            <pc:docMk/>
            <pc:sldMk cId="3751617013" sldId="372"/>
            <ac:spMk id="2" creationId="{9BE65419-0BBA-4AF7-B633-D618BE6A0EFA}"/>
          </ac:spMkLst>
        </pc:spChg>
        <pc:spChg chg="add del">
          <ac:chgData name="Philipp Ratz" userId="2cc21629dbc12aa6" providerId="LiveId" clId="{A2BE34F8-A076-624B-AAC3-58FCA3AE6AB0}" dt="2019-02-13T16:39:37.937" v="4562" actId="478"/>
          <ac:spMkLst>
            <pc:docMk/>
            <pc:sldMk cId="3751617013" sldId="372"/>
            <ac:spMk id="9" creationId="{BF91CA42-989D-47CE-B685-DB2A2D8C00BC}"/>
          </ac:spMkLst>
        </pc:spChg>
        <pc:picChg chg="mod">
          <ac:chgData name="Philipp Ratz" userId="2cc21629dbc12aa6" providerId="LiveId" clId="{A2BE34F8-A076-624B-AAC3-58FCA3AE6AB0}" dt="2019-02-13T16:44:02.351" v="4632" actId="1035"/>
          <ac:picMkLst>
            <pc:docMk/>
            <pc:sldMk cId="3751617013" sldId="372"/>
            <ac:picMk id="8" creationId="{517CCF5C-323B-4475-87AD-C2CC1929BB85}"/>
          </ac:picMkLst>
        </pc:picChg>
      </pc:sldChg>
      <pc:sldChg chg="modSp mod ord">
        <pc:chgData name="Philipp Ratz" userId="2cc21629dbc12aa6" providerId="LiveId" clId="{A2BE34F8-A076-624B-AAC3-58FCA3AE6AB0}" dt="2019-02-13T16:38:07.968" v="4559"/>
        <pc:sldMkLst>
          <pc:docMk/>
          <pc:sldMk cId="165206610" sldId="385"/>
        </pc:sldMkLst>
        <pc:spChg chg="mod">
          <ac:chgData name="Philipp Ratz" userId="2cc21629dbc12aa6" providerId="LiveId" clId="{A2BE34F8-A076-624B-AAC3-58FCA3AE6AB0}" dt="2019-02-13T16:34:24.476" v="4447" actId="1076"/>
          <ac:spMkLst>
            <pc:docMk/>
            <pc:sldMk cId="165206610" sldId="385"/>
            <ac:spMk id="9" creationId="{AEB0C68B-8EAA-48A2-8BC3-80ACA61EFEBF}"/>
          </ac:spMkLst>
        </pc:spChg>
        <pc:spChg chg="mod">
          <ac:chgData name="Philipp Ratz" userId="2cc21629dbc12aa6" providerId="LiveId" clId="{A2BE34F8-A076-624B-AAC3-58FCA3AE6AB0}" dt="2019-02-13T16:33:40.834" v="4435" actId="1035"/>
          <ac:spMkLst>
            <pc:docMk/>
            <pc:sldMk cId="165206610" sldId="385"/>
            <ac:spMk id="10" creationId="{0A87EB42-992A-4FF0-8C76-209A12FA1DE0}"/>
          </ac:spMkLst>
        </pc:spChg>
        <pc:spChg chg="mod">
          <ac:chgData name="Philipp Ratz" userId="2cc21629dbc12aa6" providerId="LiveId" clId="{A2BE34F8-A076-624B-AAC3-58FCA3AE6AB0}" dt="2019-02-13T16:33:40.834" v="4435" actId="1035"/>
          <ac:spMkLst>
            <pc:docMk/>
            <pc:sldMk cId="165206610" sldId="385"/>
            <ac:spMk id="16" creationId="{98601EE2-B21A-49D4-BD6A-D7221A251F34}"/>
          </ac:spMkLst>
        </pc:spChg>
        <pc:spChg chg="mod">
          <ac:chgData name="Philipp Ratz" userId="2cc21629dbc12aa6" providerId="LiveId" clId="{A2BE34F8-A076-624B-AAC3-58FCA3AE6AB0}" dt="2019-02-13T16:33:49.405" v="4438" actId="1076"/>
          <ac:spMkLst>
            <pc:docMk/>
            <pc:sldMk cId="165206610" sldId="385"/>
            <ac:spMk id="17" creationId="{956E868F-0D7C-465B-9B4E-5DDEFA569AEC}"/>
          </ac:spMkLst>
        </pc:spChg>
        <pc:graphicFrameChg chg="mod">
          <ac:chgData name="Philipp Ratz" userId="2cc21629dbc12aa6" providerId="LiveId" clId="{A2BE34F8-A076-624B-AAC3-58FCA3AE6AB0}" dt="2019-02-13T16:36:19.053" v="4475" actId="1036"/>
          <ac:graphicFrameMkLst>
            <pc:docMk/>
            <pc:sldMk cId="165206610" sldId="385"/>
            <ac:graphicFrameMk id="6" creationId="{B6734332-F9E9-41AB-8822-5AD19CDBFCF1}"/>
          </ac:graphicFrameMkLst>
        </pc:graphicFrameChg>
        <pc:picChg chg="mod">
          <ac:chgData name="Philipp Ratz" userId="2cc21629dbc12aa6" providerId="LiveId" clId="{A2BE34F8-A076-624B-AAC3-58FCA3AE6AB0}" dt="2019-02-13T16:34:08.777" v="4445" actId="1076"/>
          <ac:picMkLst>
            <pc:docMk/>
            <pc:sldMk cId="165206610" sldId="385"/>
            <ac:picMk id="7" creationId="{14C3CA3E-2707-4E88-B4AC-19807D9FDB6D}"/>
          </ac:picMkLst>
        </pc:picChg>
        <pc:picChg chg="mod">
          <ac:chgData name="Philipp Ratz" userId="2cc21629dbc12aa6" providerId="LiveId" clId="{A2BE34F8-A076-624B-AAC3-58FCA3AE6AB0}" dt="2019-02-13T16:34:13.576" v="4446" actId="1076"/>
          <ac:picMkLst>
            <pc:docMk/>
            <pc:sldMk cId="165206610" sldId="385"/>
            <ac:picMk id="8" creationId="{391172E4-DA34-4358-9B8A-EBF4CCBBEFFF}"/>
          </ac:picMkLst>
        </pc:picChg>
        <pc:picChg chg="mod">
          <ac:chgData name="Philipp Ratz" userId="2cc21629dbc12aa6" providerId="LiveId" clId="{A2BE34F8-A076-624B-AAC3-58FCA3AE6AB0}" dt="2019-02-13T16:36:34.364" v="4528" actId="1035"/>
          <ac:picMkLst>
            <pc:docMk/>
            <pc:sldMk cId="165206610" sldId="385"/>
            <ac:picMk id="11" creationId="{DA1D34A1-285C-41B3-A589-2573EBFA05B0}"/>
          </ac:picMkLst>
        </pc:picChg>
        <pc:picChg chg="mod">
          <ac:chgData name="Philipp Ratz" userId="2cc21629dbc12aa6" providerId="LiveId" clId="{A2BE34F8-A076-624B-AAC3-58FCA3AE6AB0}" dt="2019-02-13T16:36:45.147" v="4558" actId="1036"/>
          <ac:picMkLst>
            <pc:docMk/>
            <pc:sldMk cId="165206610" sldId="385"/>
            <ac:picMk id="12" creationId="{C2099553-35AA-4FDC-BD12-F4BD94908BDA}"/>
          </ac:picMkLst>
        </pc:picChg>
        <pc:picChg chg="mod">
          <ac:chgData name="Philipp Ratz" userId="2cc21629dbc12aa6" providerId="LiveId" clId="{A2BE34F8-A076-624B-AAC3-58FCA3AE6AB0}" dt="2019-02-13T16:36:38.601" v="4547" actId="1035"/>
          <ac:picMkLst>
            <pc:docMk/>
            <pc:sldMk cId="165206610" sldId="385"/>
            <ac:picMk id="13" creationId="{479C684D-CB4C-41F0-B6BD-02649A6D4411}"/>
          </ac:picMkLst>
        </pc:picChg>
        <pc:picChg chg="mod">
          <ac:chgData name="Philipp Ratz" userId="2cc21629dbc12aa6" providerId="LiveId" clId="{A2BE34F8-A076-624B-AAC3-58FCA3AE6AB0}" dt="2019-02-13T16:36:29.646" v="4506" actId="1036"/>
          <ac:picMkLst>
            <pc:docMk/>
            <pc:sldMk cId="165206610" sldId="385"/>
            <ac:picMk id="14" creationId="{BEE5324F-ACB0-4DD2-84F9-6EB06427A9F8}"/>
          </ac:picMkLst>
        </pc:picChg>
        <pc:picChg chg="mod">
          <ac:chgData name="Philipp Ratz" userId="2cc21629dbc12aa6" providerId="LiveId" clId="{A2BE34F8-A076-624B-AAC3-58FCA3AE6AB0}" dt="2019-02-13T16:36:42.474" v="4555" actId="1035"/>
          <ac:picMkLst>
            <pc:docMk/>
            <pc:sldMk cId="165206610" sldId="385"/>
            <ac:picMk id="15" creationId="{D8186B36-BAF6-4724-AA87-AF3DCB414F10}"/>
          </ac:picMkLst>
        </pc:picChg>
      </pc:sldChg>
    </pc:docChg>
  </pc:docChgLst>
  <pc:docChgLst>
    <pc:chgData name="Christoph Witzko" userId="2f3a363482c7f5d6" providerId="Windows Live" clId="Web-{E41C8F20-FF1E-4198-B3FB-98556ACA64B8}"/>
    <pc:docChg chg="modSld">
      <pc:chgData name="Christoph Witzko" userId="2f3a363482c7f5d6" providerId="Windows Live" clId="Web-{E41C8F20-FF1E-4198-B3FB-98556ACA64B8}" dt="2019-02-10T18:00:52.128" v="3" actId="20577"/>
      <pc:docMkLst>
        <pc:docMk/>
      </pc:docMkLst>
      <pc:sldChg chg="modSp">
        <pc:chgData name="Christoph Witzko" userId="2f3a363482c7f5d6" providerId="Windows Live" clId="Web-{E41C8F20-FF1E-4198-B3FB-98556ACA64B8}" dt="2019-02-10T18:00:52.128" v="2" actId="20577"/>
        <pc:sldMkLst>
          <pc:docMk/>
          <pc:sldMk cId="2274450700" sldId="356"/>
        </pc:sldMkLst>
        <pc:spChg chg="mod">
          <ac:chgData name="Christoph Witzko" userId="2f3a363482c7f5d6" providerId="Windows Live" clId="Web-{E41C8F20-FF1E-4198-B3FB-98556ACA64B8}" dt="2019-02-10T18:00:52.128" v="2" actId="20577"/>
          <ac:spMkLst>
            <pc:docMk/>
            <pc:sldMk cId="2274450700" sldId="356"/>
            <ac:spMk id="15" creationId="{E2BF6EAD-F267-C54C-A8A0-D5AF8BC5D433}"/>
          </ac:spMkLst>
        </pc:spChg>
      </pc:sldChg>
    </pc:docChg>
  </pc:docChgLst>
  <pc:docChgLst>
    <pc:chgData name="Antonio S." userId="2ffef37bb70309e0" providerId="LiveId" clId="{2887F9BE-11BB-497D-BBBA-B8B6B0CD9A2B}"/>
  </pc:docChgLst>
  <pc:docChgLst>
    <pc:chgData name="Alexander Dittmann" userId="128aedbbde34f6fe" providerId="Windows Live" clId="Web-{EA4805B0-6736-418F-9A03-BC7F1E09D748}"/>
  </pc:docChgLst>
  <pc:docChgLst>
    <pc:chgData name="Gastbenutzer" providerId="Windows Live" clId="Web-{66AB3559-D46F-4020-B64A-9DB86CCA99D9}"/>
    <pc:docChg chg="modSld">
      <pc:chgData name="Gastbenutzer" userId="" providerId="Windows Live" clId="Web-{66AB3559-D46F-4020-B64A-9DB86CCA99D9}" dt="2019-02-07T10:00:13.499" v="4" actId="20577"/>
      <pc:docMkLst>
        <pc:docMk/>
      </pc:docMkLst>
      <pc:sldChg chg="modSp">
        <pc:chgData name="Gastbenutzer" userId="" providerId="Windows Live" clId="Web-{66AB3559-D46F-4020-B64A-9DB86CCA99D9}" dt="2019-02-07T10:00:09.718" v="2" actId="20577"/>
        <pc:sldMkLst>
          <pc:docMk/>
          <pc:sldMk cId="1591283079" sldId="344"/>
        </pc:sldMkLst>
        <pc:spChg chg="mod">
          <ac:chgData name="Gastbenutzer" userId="" providerId="Windows Live" clId="Web-{66AB3559-D46F-4020-B64A-9DB86CCA99D9}" dt="2019-02-07T10:00:09.718" v="2" actId="20577"/>
          <ac:spMkLst>
            <pc:docMk/>
            <pc:sldMk cId="1591283079" sldId="344"/>
            <ac:spMk id="25" creationId="{3FE8577F-A0B2-4DB6-A613-481C6A28E2B7}"/>
          </ac:spMkLst>
        </pc:spChg>
      </pc:sldChg>
    </pc:docChg>
  </pc:docChgLst>
  <pc:docChgLst>
    <pc:chgData name="Marius Möck" userId="2d5fa6978198d51d" providerId="Windows Live" clId="Web-{CCEAF0CD-4F7A-4010-8141-46726248333D}"/>
  </pc:docChgLst>
  <pc:docChgLst>
    <pc:chgData name="Antonio S." userId="2ffef37bb70309e0" providerId="LiveId" clId="{F4541C58-BD17-4C79-9BAB-CFACBF9E2511}"/>
  </pc:docChgLst>
  <pc:docChgLst>
    <pc:chgData name="Marius Möck" userId="2d5fa6978198d51d" providerId="Windows Live" clId="Web-{038CFE0C-1AD3-4FF2-882D-DFC627D8CB3E}"/>
  </pc:docChgLst>
  <pc:docChgLst>
    <pc:chgData name="Marius Möck" userId="2d5fa6978198d51d" providerId="LiveId" clId="{5C1E8DB7-8D33-4B14-B928-5F00F2A316AD}"/>
  </pc:docChgLst>
  <pc:docChgLst>
    <pc:chgData name="Domenic Bosin" userId="f27d954ac5aa4257" providerId="Windows Live" clId="Web-{63FB01AD-46BC-4B56-9E52-A3D91D3B883B}"/>
  </pc:docChgLst>
  <pc:docChgLst>
    <pc:chgData name="Guest User" providerId="Windows Live" clId="Web-{0859D424-1008-4CD3-8F36-24A1B0CAFE03}"/>
  </pc:docChgLst>
  <pc:docChgLst>
    <pc:chgData name="Domenic Bosin" userId="f27d954ac5aa4257" providerId="Windows Live" clId="Web-{8276DE7D-E7F8-4CBC-BCE0-26CE4BB4AF97}"/>
  </pc:docChgLst>
  <pc:docChgLst>
    <pc:chgData name="Marius Möck" userId="2d5fa6978198d51d" providerId="Windows Live" clId="Web-{86E07169-F240-48F8-B57F-5EE2D81BA208}"/>
    <pc:docChg chg="modSld">
      <pc:chgData name="Marius Möck" userId="2d5fa6978198d51d" providerId="Windows Live" clId="Web-{86E07169-F240-48F8-B57F-5EE2D81BA208}" dt="2019-02-09T15:33:33.498" v="54"/>
      <pc:docMkLst>
        <pc:docMk/>
      </pc:docMkLst>
    </pc:docChg>
  </pc:docChgLst>
  <pc:docChgLst>
    <pc:chgData name="Marius Möck" userId="2d5fa6978198d51d" providerId="Windows Live" clId="Web-{F40D9B98-7629-4665-AA33-1D3ADC88BCD2}"/>
  </pc:docChgLst>
  <pc:docChgLst>
    <pc:chgData name="Alexander Dittmann" userId="128aedbbde34f6fe" providerId="Windows Live" clId="Web-{8EBFF070-3DC5-4352-8267-85884143D4E1}"/>
    <pc:docChg chg="modSld">
      <pc:chgData name="Alexander Dittmann" userId="128aedbbde34f6fe" providerId="Windows Live" clId="Web-{8EBFF070-3DC5-4352-8267-85884143D4E1}" dt="2019-02-12T09:41:17.984" v="1"/>
      <pc:docMkLst>
        <pc:docMk/>
      </pc:docMkLst>
      <pc:sldChg chg="modSp">
        <pc:chgData name="Alexander Dittmann" userId="128aedbbde34f6fe" providerId="Windows Live" clId="Web-{8EBFF070-3DC5-4352-8267-85884143D4E1}" dt="2019-02-12T09:41:17.984" v="1"/>
        <pc:sldMkLst>
          <pc:docMk/>
          <pc:sldMk cId="3985302116" sldId="377"/>
        </pc:sldMkLst>
        <pc:cxnChg chg="mod">
          <ac:chgData name="Alexander Dittmann" userId="128aedbbde34f6fe" providerId="Windows Live" clId="Web-{8EBFF070-3DC5-4352-8267-85884143D4E1}" dt="2019-02-12T09:41:17.984" v="1"/>
          <ac:cxnSpMkLst>
            <pc:docMk/>
            <pc:sldMk cId="3985302116" sldId="377"/>
            <ac:cxnSpMk id="75" creationId="{AC12E6CF-8FDC-49CD-A210-087288115004}"/>
          </ac:cxnSpMkLst>
        </pc:cxnChg>
      </pc:sldChg>
    </pc:docChg>
  </pc:docChgLst>
  <pc:docChgLst>
    <pc:chgData name="Philipp Ratz" userId="2cc21629dbc12aa6" providerId="LiveId" clId="{AAAFFE15-38D4-A44D-88BC-0CCC1660747C}"/>
  </pc:docChgLst>
  <pc:docChgLst>
    <pc:chgData name="Gastbenutzer" providerId="Windows Live" clId="Web-{F623BE55-7C54-4AC5-81C3-3AB975EB1E9C}"/>
  </pc:docChgLst>
  <pc:docChgLst>
    <pc:chgData name="Antonio S." userId="2ffef37bb70309e0" providerId="LiveId" clId="{C13D026D-F019-4777-9A74-36A46C40FA2C}"/>
  </pc:docChgLst>
  <pc:docChgLst>
    <pc:chgData name="Marius Möck" userId="2d5fa6978198d51d" providerId="LiveId" clId="{7342D155-9BB4-436A-A613-5309DB331B6A}"/>
    <pc:docChg chg="custSel addSld delSld modSld modSection">
      <pc:chgData name="Marius Möck" userId="2d5fa6978198d51d" providerId="LiveId" clId="{7342D155-9BB4-436A-A613-5309DB331B6A}" dt="2019-03-09T08:42:42.197" v="7" actId="2696"/>
      <pc:docMkLst>
        <pc:docMk/>
      </pc:docMkLst>
      <pc:sldChg chg="delSp modSp add del">
        <pc:chgData name="Marius Möck" userId="2d5fa6978198d51d" providerId="LiveId" clId="{7342D155-9BB4-436A-A613-5309DB331B6A}" dt="2019-03-09T08:42:42.197" v="7" actId="2696"/>
        <pc:sldMkLst>
          <pc:docMk/>
          <pc:sldMk cId="1881630752" sldId="387"/>
        </pc:sldMkLst>
        <pc:spChg chg="del mod">
          <ac:chgData name="Marius Möck" userId="2d5fa6978198d51d" providerId="LiveId" clId="{7342D155-9BB4-436A-A613-5309DB331B6A}" dt="2019-03-09T08:42:23.402" v="4" actId="478"/>
          <ac:spMkLst>
            <pc:docMk/>
            <pc:sldMk cId="1881630752" sldId="387"/>
            <ac:spMk id="2" creationId="{20252538-DA99-4BEE-B226-647D70EC364B}"/>
          </ac:spMkLst>
        </pc:spChg>
        <pc:spChg chg="del">
          <ac:chgData name="Marius Möck" userId="2d5fa6978198d51d" providerId="LiveId" clId="{7342D155-9BB4-436A-A613-5309DB331B6A}" dt="2019-03-09T08:42:26.233" v="5" actId="478"/>
          <ac:spMkLst>
            <pc:docMk/>
            <pc:sldMk cId="1881630752" sldId="387"/>
            <ac:spMk id="3" creationId="{884148A9-6537-4C1C-9826-3863A8D69253}"/>
          </ac:spMkLst>
        </pc:spChg>
        <pc:spChg chg="del">
          <ac:chgData name="Marius Möck" userId="2d5fa6978198d51d" providerId="LiveId" clId="{7342D155-9BB4-436A-A613-5309DB331B6A}" dt="2019-03-09T08:42:28.331" v="6" actId="478"/>
          <ac:spMkLst>
            <pc:docMk/>
            <pc:sldMk cId="1881630752" sldId="387"/>
            <ac:spMk id="12" creationId="{44738C93-B15C-4EE6-9519-BA343E7527DA}"/>
          </ac:spMkLst>
        </pc:spChg>
      </pc:sldChg>
      <pc:sldChg chg="add del">
        <pc:chgData name="Marius Möck" userId="2d5fa6978198d51d" providerId="LiveId" clId="{7342D155-9BB4-436A-A613-5309DB331B6A}" dt="2019-03-09T08:42:06.123" v="1" actId="2696"/>
        <pc:sldMkLst>
          <pc:docMk/>
          <pc:sldMk cId="4192937086" sldId="387"/>
        </pc:sldMkLst>
      </pc:sldChg>
    </pc:docChg>
  </pc:docChgLst>
  <pc:docChgLst>
    <pc:chgData name="Domenic Bosin" userId="f27d954ac5aa4257" providerId="Windows Live" clId="Web-{E3B08803-B7CE-418E-A8D9-AFADC1A87F9B}"/>
  </pc:docChgLst>
  <pc:docChgLst>
    <pc:chgData name="Antonio S." userId="2ffef37bb70309e0" providerId="LiveId" clId="{12AAF5E8-B548-4EC4-BFA2-05D0FAD56693}"/>
  </pc:docChgLst>
  <pc:docChgLst>
    <pc:chgData name="Gastbenutzer" providerId="Windows Live" clId="Web-{3894C16E-40AD-4DAB-8AD4-2B4C88A4BFB8}"/>
    <pc:docChg chg="addSld modSld modSection">
      <pc:chgData name="Gastbenutzer" userId="" providerId="Windows Live" clId="Web-{3894C16E-40AD-4DAB-8AD4-2B4C88A4BFB8}" dt="2019-02-11T11:24:50.368" v="17"/>
      <pc:docMkLst>
        <pc:docMk/>
      </pc:docMkLst>
    </pc:docChg>
  </pc:docChgLst>
  <pc:docChgLst>
    <pc:chgData name="Sebastian Lienau" userId="91cd32fe213c4f4f" providerId="Windows Live" clId="Web-{B66B9C0F-EC56-4647-A356-64740CEBD12D}"/>
    <pc:docChg chg="modSld sldOrd">
      <pc:chgData name="Sebastian Lienau" userId="91cd32fe213c4f4f" providerId="Windows Live" clId="Web-{B66B9C0F-EC56-4647-A356-64740CEBD12D}" dt="2019-02-14T12:43:19.150" v="16"/>
      <pc:docMkLst>
        <pc:docMk/>
      </pc:docMkLst>
      <pc:sldChg chg="delCm">
        <pc:chgData name="Sebastian Lienau" userId="91cd32fe213c4f4f" providerId="Windows Live" clId="Web-{B66B9C0F-EC56-4647-A356-64740CEBD12D}" dt="2019-02-14T12:42:24.837" v="3"/>
        <pc:sldMkLst>
          <pc:docMk/>
          <pc:sldMk cId="3637164072" sldId="291"/>
        </pc:sldMkLst>
      </pc:sldChg>
      <pc:sldChg chg="ord">
        <pc:chgData name="Sebastian Lienau" userId="91cd32fe213c4f4f" providerId="Windows Live" clId="Web-{B66B9C0F-EC56-4647-A356-64740CEBD12D}" dt="2019-02-14T12:43:19.150" v="16"/>
        <pc:sldMkLst>
          <pc:docMk/>
          <pc:sldMk cId="3268323527" sldId="328"/>
        </pc:sldMkLst>
      </pc:sldChg>
      <pc:sldChg chg="delSp modSp">
        <pc:chgData name="Sebastian Lienau" userId="91cd32fe213c4f4f" providerId="Windows Live" clId="Web-{B66B9C0F-EC56-4647-A356-64740CEBD12D}" dt="2019-02-14T12:42:45.743" v="13" actId="20577"/>
        <pc:sldMkLst>
          <pc:docMk/>
          <pc:sldMk cId="2583808906" sldId="333"/>
        </pc:sldMkLst>
        <pc:spChg chg="del">
          <ac:chgData name="Sebastian Lienau" userId="91cd32fe213c4f4f" providerId="Windows Live" clId="Web-{B66B9C0F-EC56-4647-A356-64740CEBD12D}" dt="2019-02-14T12:42:37.727" v="7"/>
          <ac:spMkLst>
            <pc:docMk/>
            <pc:sldMk cId="2583808906" sldId="333"/>
            <ac:spMk id="82" creationId="{DD43FD41-EDA0-4AA3-AC86-F4043ED8B55D}"/>
          </ac:spMkLst>
        </pc:spChg>
        <pc:spChg chg="mod">
          <ac:chgData name="Sebastian Lienau" userId="91cd32fe213c4f4f" providerId="Windows Live" clId="Web-{B66B9C0F-EC56-4647-A356-64740CEBD12D}" dt="2019-02-14T12:42:45.743" v="13" actId="20577"/>
          <ac:spMkLst>
            <pc:docMk/>
            <pc:sldMk cId="2583808906" sldId="333"/>
            <ac:spMk id="83" creationId="{17EA2231-AA73-485C-816C-3B6FEFF9C9DD}"/>
          </ac:spMkLst>
        </pc:spChg>
      </pc:sldChg>
      <pc:sldChg chg="mod ord modShow">
        <pc:chgData name="Sebastian Lienau" userId="91cd32fe213c4f4f" providerId="Windows Live" clId="Web-{B66B9C0F-EC56-4647-A356-64740CEBD12D}" dt="2019-02-14T12:40:50.382" v="1"/>
        <pc:sldMkLst>
          <pc:docMk/>
          <pc:sldMk cId="3360937211" sldId="349"/>
        </pc:sldMkLst>
      </pc:sldChg>
      <pc:sldChg chg="ord">
        <pc:chgData name="Sebastian Lienau" userId="91cd32fe213c4f4f" providerId="Windows Live" clId="Web-{B66B9C0F-EC56-4647-A356-64740CEBD12D}" dt="2019-02-14T12:41:54.211" v="2"/>
        <pc:sldMkLst>
          <pc:docMk/>
          <pc:sldMk cId="1802135091" sldId="361"/>
        </pc:sldMkLst>
      </pc:sldChg>
    </pc:docChg>
  </pc:docChgLst>
  <pc:docChgLst>
    <pc:chgData name="Sebastian Lienau" userId="91cd32fe213c4f4f" providerId="LiveId" clId="{3D7308D7-1485-B346-8BB1-6CF264799189}"/>
    <pc:docChg chg="undo custSel addSld delSld modSld sldOrd modSection">
      <pc:chgData name="Sebastian Lienau" userId="91cd32fe213c4f4f" providerId="LiveId" clId="{3D7308D7-1485-B346-8BB1-6CF264799189}" dt="2019-02-14T11:56:04.332" v="215"/>
      <pc:docMkLst>
        <pc:docMk/>
      </pc:docMkLst>
      <pc:sldChg chg="modSp add ord">
        <pc:chgData name="Sebastian Lienau" userId="91cd32fe213c4f4f" providerId="LiveId" clId="{3D7308D7-1485-B346-8BB1-6CF264799189}" dt="2019-02-14T11:52:01.077" v="196"/>
        <pc:sldMkLst>
          <pc:docMk/>
          <pc:sldMk cId="3888765895" sldId="259"/>
        </pc:sldMkLst>
        <pc:spChg chg="mod">
          <ac:chgData name="Sebastian Lienau" userId="91cd32fe213c4f4f" providerId="LiveId" clId="{3D7308D7-1485-B346-8BB1-6CF264799189}" dt="2019-02-14T11:19:51.532" v="58" actId="20577"/>
          <ac:spMkLst>
            <pc:docMk/>
            <pc:sldMk cId="3888765895" sldId="259"/>
            <ac:spMk id="2" creationId="{5FC2A887-D8F4-4791-81B0-9AA284C5C888}"/>
          </ac:spMkLst>
        </pc:spChg>
      </pc:sldChg>
      <pc:sldChg chg="ord">
        <pc:chgData name="Sebastian Lienau" userId="91cd32fe213c4f4f" providerId="LiveId" clId="{3D7308D7-1485-B346-8BB1-6CF264799189}" dt="2019-02-14T11:54:42.469" v="201"/>
        <pc:sldMkLst>
          <pc:docMk/>
          <pc:sldMk cId="876844754" sldId="261"/>
        </pc:sldMkLst>
      </pc:sldChg>
      <pc:sldChg chg="ord">
        <pc:chgData name="Sebastian Lienau" userId="91cd32fe213c4f4f" providerId="LiveId" clId="{3D7308D7-1485-B346-8BB1-6CF264799189}" dt="2019-02-14T11:54:42.469" v="201"/>
        <pc:sldMkLst>
          <pc:docMk/>
          <pc:sldMk cId="3991318503" sldId="262"/>
        </pc:sldMkLst>
      </pc:sldChg>
      <pc:sldChg chg="ord modTransition">
        <pc:chgData name="Sebastian Lienau" userId="91cd32fe213c4f4f" providerId="LiveId" clId="{3D7308D7-1485-B346-8BB1-6CF264799189}" dt="2019-02-14T11:52:38.749" v="199"/>
        <pc:sldMkLst>
          <pc:docMk/>
          <pc:sldMk cId="111630377" sldId="270"/>
        </pc:sldMkLst>
      </pc:sldChg>
      <pc:sldChg chg="add">
        <pc:chgData name="Sebastian Lienau" userId="91cd32fe213c4f4f" providerId="LiveId" clId="{3D7308D7-1485-B346-8BB1-6CF264799189}" dt="2019-02-14T11:19:42.856" v="42"/>
        <pc:sldMkLst>
          <pc:docMk/>
          <pc:sldMk cId="4215423451" sldId="275"/>
        </pc:sldMkLst>
      </pc:sldChg>
      <pc:sldChg chg="modSp add ord">
        <pc:chgData name="Sebastian Lienau" userId="91cd32fe213c4f4f" providerId="LiveId" clId="{3D7308D7-1485-B346-8BB1-6CF264799189}" dt="2019-02-14T11:20:53.958" v="68"/>
        <pc:sldMkLst>
          <pc:docMk/>
          <pc:sldMk cId="2162960959" sldId="277"/>
        </pc:sldMkLst>
        <pc:spChg chg="mod">
          <ac:chgData name="Sebastian Lienau" userId="91cd32fe213c4f4f" providerId="LiveId" clId="{3D7308D7-1485-B346-8BB1-6CF264799189}" dt="2019-02-14T11:20:29.181" v="67" actId="20577"/>
          <ac:spMkLst>
            <pc:docMk/>
            <pc:sldMk cId="2162960959" sldId="277"/>
            <ac:spMk id="2" creationId="{46F9E798-021D-4EBF-92B9-CF9D660F056B}"/>
          </ac:spMkLst>
        </pc:spChg>
      </pc:sldChg>
      <pc:sldChg chg="modSp add">
        <pc:chgData name="Sebastian Lienau" userId="91cd32fe213c4f4f" providerId="LiveId" clId="{3D7308D7-1485-B346-8BB1-6CF264799189}" dt="2019-02-14T11:18:18.558" v="23" actId="20577"/>
        <pc:sldMkLst>
          <pc:docMk/>
          <pc:sldMk cId="3913690835" sldId="290"/>
        </pc:sldMkLst>
        <pc:spChg chg="mod">
          <ac:chgData name="Sebastian Lienau" userId="91cd32fe213c4f4f" providerId="LiveId" clId="{3D7308D7-1485-B346-8BB1-6CF264799189}" dt="2019-02-14T11:18:18.558" v="23" actId="20577"/>
          <ac:spMkLst>
            <pc:docMk/>
            <pc:sldMk cId="3913690835" sldId="290"/>
            <ac:spMk id="2" creationId="{7530B3F0-F261-4D03-8DB1-01923BAC415E}"/>
          </ac:spMkLst>
        </pc:spChg>
      </pc:sldChg>
      <pc:sldChg chg="modSp add ord">
        <pc:chgData name="Sebastian Lienau" userId="91cd32fe213c4f4f" providerId="LiveId" clId="{3D7308D7-1485-B346-8BB1-6CF264799189}" dt="2019-02-14T11:55:33.240" v="212" actId="20577"/>
        <pc:sldMkLst>
          <pc:docMk/>
          <pc:sldMk cId="3637164072" sldId="291"/>
        </pc:sldMkLst>
        <pc:spChg chg="mod">
          <ac:chgData name="Sebastian Lienau" userId="91cd32fe213c4f4f" providerId="LiveId" clId="{3D7308D7-1485-B346-8BB1-6CF264799189}" dt="2019-02-14T11:55:33.240" v="212" actId="20577"/>
          <ac:spMkLst>
            <pc:docMk/>
            <pc:sldMk cId="3637164072" sldId="291"/>
            <ac:spMk id="11" creationId="{44D2CC69-3F6A-4BD0-B2CD-BB4AA95A6508}"/>
          </ac:spMkLst>
        </pc:spChg>
      </pc:sldChg>
      <pc:sldChg chg="modSp add ord">
        <pc:chgData name="Sebastian Lienau" userId="91cd32fe213c4f4f" providerId="LiveId" clId="{3D7308D7-1485-B346-8BB1-6CF264799189}" dt="2019-02-14T11:18:12.839" v="15" actId="20577"/>
        <pc:sldMkLst>
          <pc:docMk/>
          <pc:sldMk cId="3660495452" sldId="292"/>
        </pc:sldMkLst>
        <pc:spChg chg="mod">
          <ac:chgData name="Sebastian Lienau" userId="91cd32fe213c4f4f" providerId="LiveId" clId="{3D7308D7-1485-B346-8BB1-6CF264799189}" dt="2019-02-14T11:18:12.839" v="15" actId="20577"/>
          <ac:spMkLst>
            <pc:docMk/>
            <pc:sldMk cId="3660495452" sldId="292"/>
            <ac:spMk id="2" creationId="{FAE2B573-A430-476F-904D-C2C66D02B452}"/>
          </ac:spMkLst>
        </pc:spChg>
      </pc:sldChg>
      <pc:sldChg chg="modSp add">
        <pc:chgData name="Sebastian Lienau" userId="91cd32fe213c4f4f" providerId="LiveId" clId="{3D7308D7-1485-B346-8BB1-6CF264799189}" dt="2019-02-14T11:19:04.875" v="41" actId="20577"/>
        <pc:sldMkLst>
          <pc:docMk/>
          <pc:sldMk cId="1166274819" sldId="296"/>
        </pc:sldMkLst>
        <pc:spChg chg="mod">
          <ac:chgData name="Sebastian Lienau" userId="91cd32fe213c4f4f" providerId="LiveId" clId="{3D7308D7-1485-B346-8BB1-6CF264799189}" dt="2019-02-14T11:19:04.875" v="41" actId="20577"/>
          <ac:spMkLst>
            <pc:docMk/>
            <pc:sldMk cId="1166274819" sldId="296"/>
            <ac:spMk id="2" creationId="{FAE2B573-A430-476F-904D-C2C66D02B452}"/>
          </ac:spMkLst>
        </pc:spChg>
      </pc:sldChg>
      <pc:sldChg chg="modSp add ord">
        <pc:chgData name="Sebastian Lienau" userId="91cd32fe213c4f4f" providerId="LiveId" clId="{3D7308D7-1485-B346-8BB1-6CF264799189}" dt="2019-02-14T11:52:11.572" v="197"/>
        <pc:sldMkLst>
          <pc:docMk/>
          <pc:sldMk cId="3769315113" sldId="298"/>
        </pc:sldMkLst>
        <pc:spChg chg="mod">
          <ac:chgData name="Sebastian Lienau" userId="91cd32fe213c4f4f" providerId="LiveId" clId="{3D7308D7-1485-B346-8BB1-6CF264799189}" dt="2019-02-14T11:16:33.787" v="2" actId="20577"/>
          <ac:spMkLst>
            <pc:docMk/>
            <pc:sldMk cId="3769315113" sldId="298"/>
            <ac:spMk id="2" creationId="{5FC2A887-D8F4-4791-81B0-9AA284C5C888}"/>
          </ac:spMkLst>
        </pc:spChg>
      </pc:sldChg>
      <pc:sldChg chg="addSp delSp modSp add ord">
        <pc:chgData name="Sebastian Lienau" userId="91cd32fe213c4f4f" providerId="LiveId" clId="{3D7308D7-1485-B346-8BB1-6CF264799189}" dt="2019-02-14T11:55:04.372" v="203"/>
        <pc:sldMkLst>
          <pc:docMk/>
          <pc:sldMk cId="2583808906" sldId="333"/>
        </pc:sldMkLst>
        <pc:spChg chg="mod">
          <ac:chgData name="Sebastian Lienau" userId="91cd32fe213c4f4f" providerId="LiveId" clId="{3D7308D7-1485-B346-8BB1-6CF264799189}" dt="2019-02-14T11:40:22.268" v="102" actId="20577"/>
          <ac:spMkLst>
            <pc:docMk/>
            <pc:sldMk cId="2583808906" sldId="333"/>
            <ac:spMk id="12" creationId="{E75C6291-132F-4EAA-8FD0-9AC2C570F5D6}"/>
          </ac:spMkLst>
        </pc:spChg>
        <pc:spChg chg="mod">
          <ac:chgData name="Sebastian Lienau" userId="91cd32fe213c4f4f" providerId="LiveId" clId="{3D7308D7-1485-B346-8BB1-6CF264799189}" dt="2019-02-14T11:40:24.205" v="105" actId="108"/>
          <ac:spMkLst>
            <pc:docMk/>
            <pc:sldMk cId="2583808906" sldId="333"/>
            <ac:spMk id="39" creationId="{26900ACE-F092-FC47-AF5C-086D909DF9F7}"/>
          </ac:spMkLst>
        </pc:spChg>
        <pc:spChg chg="mod">
          <ac:chgData name="Sebastian Lienau" userId="91cd32fe213c4f4f" providerId="LiveId" clId="{3D7308D7-1485-B346-8BB1-6CF264799189}" dt="2019-02-14T11:33:50.344" v="73" actId="108"/>
          <ac:spMkLst>
            <pc:docMk/>
            <pc:sldMk cId="2583808906" sldId="333"/>
            <ac:spMk id="50" creationId="{72B6633F-10C1-8F4F-BBE9-2B0E385EADDD}"/>
          </ac:spMkLst>
        </pc:spChg>
        <pc:spChg chg="mod">
          <ac:chgData name="Sebastian Lienau" userId="91cd32fe213c4f4f" providerId="LiveId" clId="{3D7308D7-1485-B346-8BB1-6CF264799189}" dt="2019-02-14T11:33:53.874" v="74" actId="108"/>
          <ac:spMkLst>
            <pc:docMk/>
            <pc:sldMk cId="2583808906" sldId="333"/>
            <ac:spMk id="56" creationId="{BE6666B3-494C-664D-A674-1879D823BB48}"/>
          </ac:spMkLst>
        </pc:spChg>
        <pc:spChg chg="mod">
          <ac:chgData name="Sebastian Lienau" userId="91cd32fe213c4f4f" providerId="LiveId" clId="{3D7308D7-1485-B346-8BB1-6CF264799189}" dt="2019-02-14T11:33:28.403" v="70" actId="108"/>
          <ac:spMkLst>
            <pc:docMk/>
            <pc:sldMk cId="2583808906" sldId="333"/>
            <ac:spMk id="59" creationId="{B6F78CA5-5245-E042-8FCD-22869070D35E}"/>
          </ac:spMkLst>
        </pc:spChg>
        <pc:spChg chg="mod">
          <ac:chgData name="Sebastian Lienau" userId="91cd32fe213c4f4f" providerId="LiveId" clId="{3D7308D7-1485-B346-8BB1-6CF264799189}" dt="2019-02-14T11:35:26.327" v="95" actId="108"/>
          <ac:spMkLst>
            <pc:docMk/>
            <pc:sldMk cId="2583808906" sldId="333"/>
            <ac:spMk id="63" creationId="{63EB9E11-E0AD-BA42-9047-B3A4AC08E32B}"/>
          </ac:spMkLst>
        </pc:spChg>
        <pc:spChg chg="mod">
          <ac:chgData name="Sebastian Lienau" userId="91cd32fe213c4f4f" providerId="LiveId" clId="{3D7308D7-1485-B346-8BB1-6CF264799189}" dt="2019-02-14T11:35:17.734" v="93" actId="108"/>
          <ac:spMkLst>
            <pc:docMk/>
            <pc:sldMk cId="2583808906" sldId="333"/>
            <ac:spMk id="65" creationId="{F3F98C1F-B4F3-CD48-B51A-EA2045169404}"/>
          </ac:spMkLst>
        </pc:spChg>
        <pc:spChg chg="mod">
          <ac:chgData name="Sebastian Lienau" userId="91cd32fe213c4f4f" providerId="LiveId" clId="{3D7308D7-1485-B346-8BB1-6CF264799189}" dt="2019-02-14T11:35:21.515" v="94" actId="108"/>
          <ac:spMkLst>
            <pc:docMk/>
            <pc:sldMk cId="2583808906" sldId="333"/>
            <ac:spMk id="67" creationId="{4AF8B370-1DB4-ED4A-B717-B763B09F65C8}"/>
          </ac:spMkLst>
        </pc:spChg>
        <pc:spChg chg="add del">
          <ac:chgData name="Sebastian Lienau" userId="91cd32fe213c4f4f" providerId="LiveId" clId="{3D7308D7-1485-B346-8BB1-6CF264799189}" dt="2019-02-14T11:34:39.451" v="78" actId="478"/>
          <ac:spMkLst>
            <pc:docMk/>
            <pc:sldMk cId="2583808906" sldId="333"/>
            <ac:spMk id="70" creationId="{E9CD2516-E61A-48D0-A5DB-72A7F2E6C125}"/>
          </ac:spMkLst>
        </pc:spChg>
        <pc:spChg chg="add del">
          <ac:chgData name="Sebastian Lienau" userId="91cd32fe213c4f4f" providerId="LiveId" clId="{3D7308D7-1485-B346-8BB1-6CF264799189}" dt="2019-02-14T11:34:39.451" v="78" actId="478"/>
          <ac:spMkLst>
            <pc:docMk/>
            <pc:sldMk cId="2583808906" sldId="333"/>
            <ac:spMk id="77" creationId="{55240547-96AF-49A1-B503-92D1A037E8F0}"/>
          </ac:spMkLst>
        </pc:spChg>
        <pc:spChg chg="add del">
          <ac:chgData name="Sebastian Lienau" userId="91cd32fe213c4f4f" providerId="LiveId" clId="{3D7308D7-1485-B346-8BB1-6CF264799189}" dt="2019-02-14T11:34:39.451" v="78" actId="478"/>
          <ac:spMkLst>
            <pc:docMk/>
            <pc:sldMk cId="2583808906" sldId="333"/>
            <ac:spMk id="78" creationId="{322DA2F2-7EA3-4EA6-9F98-73EDC51BAEA1}"/>
          </ac:spMkLst>
        </pc:spChg>
        <pc:spChg chg="add del mod">
          <ac:chgData name="Sebastian Lienau" userId="91cd32fe213c4f4f" providerId="LiveId" clId="{3D7308D7-1485-B346-8BB1-6CF264799189}" dt="2019-02-14T11:34:52.022" v="88" actId="20577"/>
          <ac:spMkLst>
            <pc:docMk/>
            <pc:sldMk cId="2583808906" sldId="333"/>
            <ac:spMk id="80" creationId="{5234676F-7C5B-42B7-A969-3AA35C22410C}"/>
          </ac:spMkLst>
        </pc:spChg>
        <pc:spChg chg="add del">
          <ac:chgData name="Sebastian Lienau" userId="91cd32fe213c4f4f" providerId="LiveId" clId="{3D7308D7-1485-B346-8BB1-6CF264799189}" dt="2019-02-14T11:34:39.451" v="78" actId="478"/>
          <ac:spMkLst>
            <pc:docMk/>
            <pc:sldMk cId="2583808906" sldId="333"/>
            <ac:spMk id="82" creationId="{DD43FD41-EDA0-4AA3-AC86-F4043ED8B55D}"/>
          </ac:spMkLst>
        </pc:spChg>
        <pc:spChg chg="add del">
          <ac:chgData name="Sebastian Lienau" userId="91cd32fe213c4f4f" providerId="LiveId" clId="{3D7308D7-1485-B346-8BB1-6CF264799189}" dt="2019-02-14T11:34:39.451" v="78" actId="478"/>
          <ac:spMkLst>
            <pc:docMk/>
            <pc:sldMk cId="2583808906" sldId="333"/>
            <ac:spMk id="83" creationId="{17EA2231-AA73-485C-816C-3B6FEFF9C9DD}"/>
          </ac:spMkLst>
        </pc:spChg>
        <pc:spChg chg="add mod">
          <ac:chgData name="Sebastian Lienau" userId="91cd32fe213c4f4f" providerId="LiveId" clId="{3D7308D7-1485-B346-8BB1-6CF264799189}" dt="2019-02-14T11:44:27.226" v="186" actId="108"/>
          <ac:spMkLst>
            <pc:docMk/>
            <pc:sldMk cId="2583808906" sldId="333"/>
            <ac:spMk id="84" creationId="{8E1EBD26-C634-3840-8D06-94B3DBDEE58F}"/>
          </ac:spMkLst>
        </pc:spChg>
        <pc:spChg chg="mod">
          <ac:chgData name="Sebastian Lienau" userId="91cd32fe213c4f4f" providerId="LiveId" clId="{3D7308D7-1485-B346-8BB1-6CF264799189}" dt="2019-02-14T11:44:30.095" v="187" actId="108"/>
          <ac:spMkLst>
            <pc:docMk/>
            <pc:sldMk cId="2583808906" sldId="333"/>
            <ac:spMk id="92" creationId="{85330661-A78A-4F1B-91A2-AAC2757FABDA}"/>
          </ac:spMkLst>
        </pc:spChg>
        <pc:spChg chg="mod">
          <ac:chgData name="Sebastian Lienau" userId="91cd32fe213c4f4f" providerId="LiveId" clId="{3D7308D7-1485-B346-8BB1-6CF264799189}" dt="2019-02-14T11:43:54.538" v="170" actId="20577"/>
          <ac:spMkLst>
            <pc:docMk/>
            <pc:sldMk cId="2583808906" sldId="333"/>
            <ac:spMk id="94" creationId="{DAD31D9C-CF04-4C2A-8F74-2DC093F905C8}"/>
          </ac:spMkLst>
        </pc:spChg>
        <pc:spChg chg="add del">
          <ac:chgData name="Sebastian Lienau" userId="91cd32fe213c4f4f" providerId="LiveId" clId="{3D7308D7-1485-B346-8BB1-6CF264799189}" dt="2019-02-14T11:45:24.131" v="189" actId="478"/>
          <ac:spMkLst>
            <pc:docMk/>
            <pc:sldMk cId="2583808906" sldId="333"/>
            <ac:spMk id="95" creationId="{48FFB22E-606C-4A50-8638-C53B2878AE7C}"/>
          </ac:spMkLst>
        </pc:spChg>
        <pc:picChg chg="del">
          <ac:chgData name="Sebastian Lienau" userId="91cd32fe213c4f4f" providerId="LiveId" clId="{3D7308D7-1485-B346-8BB1-6CF264799189}" dt="2019-02-14T11:41:40.032" v="133" actId="478"/>
          <ac:picMkLst>
            <pc:docMk/>
            <pc:sldMk cId="2583808906" sldId="333"/>
            <ac:picMk id="27" creationId="{684A4FA2-BCBE-8045-9E8C-FB41BB1FD4F3}"/>
          </ac:picMkLst>
        </pc:picChg>
        <pc:picChg chg="del">
          <ac:chgData name="Sebastian Lienau" userId="91cd32fe213c4f4f" providerId="LiveId" clId="{3D7308D7-1485-B346-8BB1-6CF264799189}" dt="2019-02-14T11:41:40.789" v="134" actId="478"/>
          <ac:picMkLst>
            <pc:docMk/>
            <pc:sldMk cId="2583808906" sldId="333"/>
            <ac:picMk id="45" creationId="{519A3A8B-1941-B84A-A5A2-ED887A4791EB}"/>
          </ac:picMkLst>
        </pc:picChg>
        <pc:picChg chg="del">
          <ac:chgData name="Sebastian Lienau" userId="91cd32fe213c4f4f" providerId="LiveId" clId="{3D7308D7-1485-B346-8BB1-6CF264799189}" dt="2019-02-14T11:41:42.734" v="136" actId="478"/>
          <ac:picMkLst>
            <pc:docMk/>
            <pc:sldMk cId="2583808906" sldId="333"/>
            <ac:picMk id="51" creationId="{F5826AA6-E77F-194A-9F27-8E128DC374D6}"/>
          </ac:picMkLst>
        </pc:picChg>
        <pc:picChg chg="del">
          <ac:chgData name="Sebastian Lienau" userId="91cd32fe213c4f4f" providerId="LiveId" clId="{3D7308D7-1485-B346-8BB1-6CF264799189}" dt="2019-02-14T11:41:41.863" v="135" actId="478"/>
          <ac:picMkLst>
            <pc:docMk/>
            <pc:sldMk cId="2583808906" sldId="333"/>
            <ac:picMk id="57" creationId="{3087529D-4DC7-E043-9568-B41CEB314633}"/>
          </ac:picMkLst>
        </pc:picChg>
        <pc:picChg chg="del">
          <ac:chgData name="Sebastian Lienau" userId="91cd32fe213c4f4f" providerId="LiveId" clId="{3D7308D7-1485-B346-8BB1-6CF264799189}" dt="2019-02-14T11:41:43.347" v="137" actId="478"/>
          <ac:picMkLst>
            <pc:docMk/>
            <pc:sldMk cId="2583808906" sldId="333"/>
            <ac:picMk id="60" creationId="{66839C22-900C-0A42-B535-7ED9A6D03911}"/>
          </ac:picMkLst>
        </pc:picChg>
        <pc:picChg chg="del">
          <ac:chgData name="Sebastian Lienau" userId="91cd32fe213c4f4f" providerId="LiveId" clId="{3D7308D7-1485-B346-8BB1-6CF264799189}" dt="2019-02-14T11:41:39.364" v="132" actId="478"/>
          <ac:picMkLst>
            <pc:docMk/>
            <pc:sldMk cId="2583808906" sldId="333"/>
            <ac:picMk id="62" creationId="{4BA48E2C-93BB-A241-936C-AB258DA0DC4A}"/>
          </ac:picMkLst>
        </pc:picChg>
        <pc:picChg chg="del">
          <ac:chgData name="Sebastian Lienau" userId="91cd32fe213c4f4f" providerId="LiveId" clId="{3D7308D7-1485-B346-8BB1-6CF264799189}" dt="2019-02-14T11:41:34.172" v="126" actId="478"/>
          <ac:picMkLst>
            <pc:docMk/>
            <pc:sldMk cId="2583808906" sldId="333"/>
            <ac:picMk id="64" creationId="{AAEB540B-264A-6A49-8282-BADB79107FC2}"/>
          </ac:picMkLst>
        </pc:picChg>
        <pc:picChg chg="del">
          <ac:chgData name="Sebastian Lienau" userId="91cd32fe213c4f4f" providerId="LiveId" clId="{3D7308D7-1485-B346-8BB1-6CF264799189}" dt="2019-02-14T11:41:35.074" v="127" actId="478"/>
          <ac:picMkLst>
            <pc:docMk/>
            <pc:sldMk cId="2583808906" sldId="333"/>
            <ac:picMk id="66" creationId="{99BEC8C1-1631-B343-8E4A-6C3EB92241A6}"/>
          </ac:picMkLst>
        </pc:picChg>
        <pc:picChg chg="del">
          <ac:chgData name="Sebastian Lienau" userId="91cd32fe213c4f4f" providerId="LiveId" clId="{3D7308D7-1485-B346-8BB1-6CF264799189}" dt="2019-02-14T11:41:36.073" v="128" actId="478"/>
          <ac:picMkLst>
            <pc:docMk/>
            <pc:sldMk cId="2583808906" sldId="333"/>
            <ac:picMk id="68" creationId="{621590B3-46CB-364B-B3EB-353BA9293581}"/>
          </ac:picMkLst>
        </pc:picChg>
        <pc:picChg chg="del">
          <ac:chgData name="Sebastian Lienau" userId="91cd32fe213c4f4f" providerId="LiveId" clId="{3D7308D7-1485-B346-8BB1-6CF264799189}" dt="2019-02-14T11:41:36.904" v="129" actId="478"/>
          <ac:picMkLst>
            <pc:docMk/>
            <pc:sldMk cId="2583808906" sldId="333"/>
            <ac:picMk id="72" creationId="{C9BB7621-CBA4-E242-A0BE-0490226D3D0F}"/>
          </ac:picMkLst>
        </pc:picChg>
        <pc:picChg chg="del">
          <ac:chgData name="Sebastian Lienau" userId="91cd32fe213c4f4f" providerId="LiveId" clId="{3D7308D7-1485-B346-8BB1-6CF264799189}" dt="2019-02-14T11:41:37.851" v="130" actId="478"/>
          <ac:picMkLst>
            <pc:docMk/>
            <pc:sldMk cId="2583808906" sldId="333"/>
            <ac:picMk id="74" creationId="{9BD3DFA8-3000-9943-9CE6-8D0AE861512E}"/>
          </ac:picMkLst>
        </pc:picChg>
        <pc:picChg chg="del">
          <ac:chgData name="Sebastian Lienau" userId="91cd32fe213c4f4f" providerId="LiveId" clId="{3D7308D7-1485-B346-8BB1-6CF264799189}" dt="2019-02-14T11:41:38.580" v="131" actId="478"/>
          <ac:picMkLst>
            <pc:docMk/>
            <pc:sldMk cId="2583808906" sldId="333"/>
            <ac:picMk id="76" creationId="{BC43E7F4-039C-AB4E-88A6-8FCD3649AB31}"/>
          </ac:picMkLst>
        </pc:picChg>
        <pc:picChg chg="del">
          <ac:chgData name="Sebastian Lienau" userId="91cd32fe213c4f4f" providerId="LiveId" clId="{3D7308D7-1485-B346-8BB1-6CF264799189}" dt="2019-02-14T11:42:43.817" v="143" actId="478"/>
          <ac:picMkLst>
            <pc:docMk/>
            <pc:sldMk cId="2583808906" sldId="333"/>
            <ac:picMk id="81" creationId="{6982F4C1-9E35-FE41-9192-9F07DF678D5A}"/>
          </ac:picMkLst>
        </pc:picChg>
        <pc:picChg chg="add del">
          <ac:chgData name="Sebastian Lienau" userId="91cd32fe213c4f4f" providerId="LiveId" clId="{3D7308D7-1485-B346-8BB1-6CF264799189}" dt="2019-02-14T11:45:19.580" v="188" actId="478"/>
          <ac:picMkLst>
            <pc:docMk/>
            <pc:sldMk cId="2583808906" sldId="333"/>
            <ac:picMk id="91" creationId="{F9475984-11BF-428D-B48E-2687E8D65CED}"/>
          </ac:picMkLst>
        </pc:picChg>
        <pc:cxnChg chg="mod">
          <ac:chgData name="Sebastian Lienau" userId="91cd32fe213c4f4f" providerId="LiveId" clId="{3D7308D7-1485-B346-8BB1-6CF264799189}" dt="2019-02-14T11:40:54.862" v="108" actId="14100"/>
          <ac:cxnSpMkLst>
            <pc:docMk/>
            <pc:sldMk cId="2583808906" sldId="333"/>
            <ac:cxnSpMk id="93" creationId="{E4BF469B-D370-4A91-81C7-352024DEB397}"/>
          </ac:cxnSpMkLst>
        </pc:cxnChg>
      </pc:sldChg>
      <pc:sldChg chg="ord">
        <pc:chgData name="Sebastian Lienau" userId="91cd32fe213c4f4f" providerId="LiveId" clId="{3D7308D7-1485-B346-8BB1-6CF264799189}" dt="2019-02-14T11:55:14.653" v="204"/>
        <pc:sldMkLst>
          <pc:docMk/>
          <pc:sldMk cId="3360937211" sldId="349"/>
        </pc:sldMkLst>
      </pc:sldChg>
      <pc:sldChg chg="ord">
        <pc:chgData name="Sebastian Lienau" userId="91cd32fe213c4f4f" providerId="LiveId" clId="{3D7308D7-1485-B346-8BB1-6CF264799189}" dt="2019-02-14T11:56:04.332" v="215"/>
        <pc:sldMkLst>
          <pc:docMk/>
          <pc:sldMk cId="2445467899" sldId="354"/>
        </pc:sldMkLst>
      </pc:sldChg>
      <pc:sldChg chg="ord">
        <pc:chgData name="Sebastian Lienau" userId="91cd32fe213c4f4f" providerId="LiveId" clId="{3D7308D7-1485-B346-8BB1-6CF264799189}" dt="2019-02-14T11:51:50.681" v="195"/>
        <pc:sldMkLst>
          <pc:docMk/>
          <pc:sldMk cId="3147023879" sldId="358"/>
        </pc:sldMkLst>
      </pc:sldChg>
      <pc:sldChg chg="ord modTransition">
        <pc:chgData name="Sebastian Lienau" userId="91cd32fe213c4f4f" providerId="LiveId" clId="{3D7308D7-1485-B346-8BB1-6CF264799189}" dt="2019-02-14T11:51:43.582" v="194"/>
        <pc:sldMkLst>
          <pc:docMk/>
          <pc:sldMk cId="3032303920" sldId="360"/>
        </pc:sldMkLst>
      </pc:sldChg>
      <pc:sldChg chg="modSp add ord">
        <pc:chgData name="Sebastian Lienau" userId="91cd32fe213c4f4f" providerId="LiveId" clId="{3D7308D7-1485-B346-8BB1-6CF264799189}" dt="2019-02-14T11:52:01.077" v="196"/>
        <pc:sldMkLst>
          <pc:docMk/>
          <pc:sldMk cId="1266217111" sldId="386"/>
        </pc:sldMkLst>
        <pc:spChg chg="mod">
          <ac:chgData name="Sebastian Lienau" userId="91cd32fe213c4f4f" providerId="LiveId" clId="{3D7308D7-1485-B346-8BB1-6CF264799189}" dt="2019-02-14T11:19:47.179" v="50" actId="20577"/>
          <ac:spMkLst>
            <pc:docMk/>
            <pc:sldMk cId="1266217111" sldId="386"/>
            <ac:spMk id="2" creationId="{5FC2A887-D8F4-4791-81B0-9AA284C5C888}"/>
          </ac:spMkLst>
        </pc:spChg>
      </pc:sldChg>
    </pc:docChg>
  </pc:docChgLst>
  <pc:docChgLst>
    <pc:chgData name="Antonio S." userId="2ffef37bb70309e0" providerId="LiveId" clId="{A076690F-5DE1-4D5D-8BBF-D7E72452B538}"/>
    <pc:docChg chg="custSel delSld modSld delSection modSection">
      <pc:chgData name="Antonio S." userId="2ffef37bb70309e0" providerId="LiveId" clId="{A076690F-5DE1-4D5D-8BBF-D7E72452B538}" dt="2018-12-15T13:35:38.165" v="197" actId="20577"/>
      <pc:docMkLst>
        <pc:docMk/>
      </pc:docMkLst>
      <pc:sldChg chg="modSp">
        <pc:chgData name="Antonio S." userId="2ffef37bb70309e0" providerId="LiveId" clId="{A076690F-5DE1-4D5D-8BBF-D7E72452B538}" dt="2018-12-15T13:35:35.421" v="195" actId="20577"/>
        <pc:sldMkLst>
          <pc:docMk/>
          <pc:sldMk cId="111630377" sldId="270"/>
        </pc:sldMkLst>
        <pc:spChg chg="mod">
          <ac:chgData name="Antonio S." userId="2ffef37bb70309e0" providerId="LiveId" clId="{A076690F-5DE1-4D5D-8BBF-D7E72452B538}" dt="2018-12-15T13:35:35.421" v="195" actId="20577"/>
          <ac:spMkLst>
            <pc:docMk/>
            <pc:sldMk cId="111630377" sldId="270"/>
            <ac:spMk id="16" creationId="{8A1DB8AC-EB8A-4B7B-A7AB-DA1526809BD0}"/>
          </ac:spMkLst>
        </pc:spChg>
      </pc:sldChg>
    </pc:docChg>
  </pc:docChgLst>
  <pc:docChgLst>
    <pc:chgData name="Antonio S." userId="2ffef37bb70309e0" providerId="LiveId" clId="{512482B5-203D-4C07-9231-50ED04F688B1}"/>
    <pc:docChg chg="undo custSel addSld delSld modSld sldOrd modSection">
      <pc:chgData name="Antonio S." userId="2ffef37bb70309e0" providerId="LiveId" clId="{512482B5-203D-4C07-9231-50ED04F688B1}" dt="2019-02-12T22:29:40.097" v="2338"/>
      <pc:docMkLst>
        <pc:docMk/>
      </pc:docMkLst>
      <pc:sldChg chg="addSp delSp modSp">
        <pc:chgData name="Antonio S." userId="2ffef37bb70309e0" providerId="LiveId" clId="{512482B5-203D-4C07-9231-50ED04F688B1}" dt="2019-02-10T13:49:39.504" v="1870" actId="20577"/>
        <pc:sldMkLst>
          <pc:docMk/>
          <pc:sldMk cId="111630377" sldId="270"/>
        </pc:sldMkLst>
        <pc:spChg chg="mod">
          <ac:chgData name="Antonio S." userId="2ffef37bb70309e0" providerId="LiveId" clId="{512482B5-203D-4C07-9231-50ED04F688B1}" dt="2019-02-10T13:49:39.504" v="1870" actId="20577"/>
          <ac:spMkLst>
            <pc:docMk/>
            <pc:sldMk cId="111630377" sldId="270"/>
            <ac:spMk id="2" creationId="{5FC2A887-D8F4-4791-81B0-9AA284C5C888}"/>
          </ac:spMkLst>
        </pc:spChg>
        <pc:spChg chg="mod">
          <ac:chgData name="Antonio S." userId="2ffef37bb70309e0" providerId="LiveId" clId="{512482B5-203D-4C07-9231-50ED04F688B1}" dt="2019-02-05T14:11:04.108" v="1460" actId="20577"/>
          <ac:spMkLst>
            <pc:docMk/>
            <pc:sldMk cId="111630377" sldId="270"/>
            <ac:spMk id="7" creationId="{03264D8F-A7C9-4869-9A3C-671A9C1C5C4F}"/>
          </ac:spMkLst>
        </pc:spChg>
        <pc:spChg chg="mod">
          <ac:chgData name="Antonio S." userId="2ffef37bb70309e0" providerId="LiveId" clId="{512482B5-203D-4C07-9231-50ED04F688B1}" dt="2019-02-05T14:17:45.641" v="1734" actId="20577"/>
          <ac:spMkLst>
            <pc:docMk/>
            <pc:sldMk cId="111630377" sldId="270"/>
            <ac:spMk id="16" creationId="{8A1DB8AC-EB8A-4B7B-A7AB-DA1526809BD0}"/>
          </ac:spMkLst>
        </pc:spChg>
        <pc:spChg chg="mod">
          <ac:chgData name="Antonio S." userId="2ffef37bb70309e0" providerId="LiveId" clId="{512482B5-203D-4C07-9231-50ED04F688B1}" dt="2019-01-30T22:48:30.829" v="22" actId="20577"/>
          <ac:spMkLst>
            <pc:docMk/>
            <pc:sldMk cId="111630377" sldId="270"/>
            <ac:spMk id="23" creationId="{DCF4EC20-055F-4554-9DD4-E3E6DE5FAB91}"/>
          </ac:spMkLst>
        </pc:spChg>
        <pc:picChg chg="add mod">
          <ac:chgData name="Antonio S." userId="2ffef37bb70309e0" providerId="LiveId" clId="{512482B5-203D-4C07-9231-50ED04F688B1}" dt="2019-01-30T22:50:29.530" v="30" actId="1076"/>
          <ac:picMkLst>
            <pc:docMk/>
            <pc:sldMk cId="111630377" sldId="270"/>
            <ac:picMk id="6" creationId="{3E25AF6E-E86A-4FC1-B82F-4E2190B5FC7B}"/>
          </ac:picMkLst>
        </pc:picChg>
        <pc:picChg chg="del">
          <ac:chgData name="Antonio S." userId="2ffef37bb70309e0" providerId="LiveId" clId="{512482B5-203D-4C07-9231-50ED04F688B1}" dt="2019-01-30T22:48:32.824" v="23" actId="478"/>
          <ac:picMkLst>
            <pc:docMk/>
            <pc:sldMk cId="111630377" sldId="270"/>
            <ac:picMk id="24" creationId="{9FBAF75E-5714-4530-A6CA-55B4892D39EB}"/>
          </ac:picMkLst>
        </pc:picChg>
      </pc:sldChg>
      <pc:sldChg chg="addSp delSp modSp add">
        <pc:chgData name="Antonio S." userId="2ffef37bb70309e0" providerId="LiveId" clId="{512482B5-203D-4C07-9231-50ED04F688B1}" dt="2019-02-10T18:04:43.739" v="1881" actId="12788"/>
        <pc:sldMkLst>
          <pc:docMk/>
          <pc:sldMk cId="1591283079" sldId="344"/>
        </pc:sldMkLst>
        <pc:spChg chg="mod">
          <ac:chgData name="Antonio S." userId="2ffef37bb70309e0" providerId="LiveId" clId="{512482B5-203D-4C07-9231-50ED04F688B1}" dt="2019-02-05T14:14:18.152" v="1681" actId="1076"/>
          <ac:spMkLst>
            <pc:docMk/>
            <pc:sldMk cId="1591283079" sldId="344"/>
            <ac:spMk id="2" creationId="{F9002ABA-1020-4FAD-9200-D7BB4C424E50}"/>
          </ac:spMkLst>
        </pc:spChg>
        <pc:spChg chg="mod">
          <ac:chgData name="Antonio S." userId="2ffef37bb70309e0" providerId="LiveId" clId="{512482B5-203D-4C07-9231-50ED04F688B1}" dt="2019-02-05T14:12:31.634" v="1552" actId="1035"/>
          <ac:spMkLst>
            <pc:docMk/>
            <pc:sldMk cId="1591283079" sldId="344"/>
            <ac:spMk id="3" creationId="{E92A7433-6444-441B-B16C-6957BBF48DA4}"/>
          </ac:spMkLst>
        </pc:spChg>
        <pc:spChg chg="add mod">
          <ac:chgData name="Antonio S." userId="2ffef37bb70309e0" providerId="LiveId" clId="{512482B5-203D-4C07-9231-50ED04F688B1}" dt="2019-02-10T18:04:43.739" v="1881" actId="12788"/>
          <ac:spMkLst>
            <pc:docMk/>
            <pc:sldMk cId="1591283079" sldId="344"/>
            <ac:spMk id="4" creationId="{02E8447B-2B07-4E44-9509-E107F1F88187}"/>
          </ac:spMkLst>
        </pc:spChg>
        <pc:spChg chg="add mod">
          <ac:chgData name="Antonio S." userId="2ffef37bb70309e0" providerId="LiveId" clId="{512482B5-203D-4C07-9231-50ED04F688B1}" dt="2019-02-10T18:04:43.739" v="1881" actId="12788"/>
          <ac:spMkLst>
            <pc:docMk/>
            <pc:sldMk cId="1591283079" sldId="344"/>
            <ac:spMk id="5" creationId="{25969DC4-CF44-483D-9216-CA7FA8CA34CD}"/>
          </ac:spMkLst>
        </pc:spChg>
        <pc:spChg chg="add del">
          <ac:chgData name="Antonio S." userId="2ffef37bb70309e0" providerId="LiveId" clId="{512482B5-203D-4C07-9231-50ED04F688B1}" dt="2019-02-03T18:24:24.602" v="1450"/>
          <ac:spMkLst>
            <pc:docMk/>
            <pc:sldMk cId="1591283079" sldId="344"/>
            <ac:spMk id="10" creationId="{C88AE1FD-D651-4BB0-8740-58004BDF7E54}"/>
          </ac:spMkLst>
        </pc:spChg>
        <pc:spChg chg="mod">
          <ac:chgData name="Antonio S." userId="2ffef37bb70309e0" providerId="LiveId" clId="{512482B5-203D-4C07-9231-50ED04F688B1}" dt="2019-02-05T14:12:25.669" v="1549" actId="1038"/>
          <ac:spMkLst>
            <pc:docMk/>
            <pc:sldMk cId="1591283079" sldId="344"/>
            <ac:spMk id="19" creationId="{685447C9-92A8-4CD8-AC7A-919FF451385C}"/>
          </ac:spMkLst>
        </pc:spChg>
        <pc:spChg chg="mod">
          <ac:chgData name="Antonio S." userId="2ffef37bb70309e0" providerId="LiveId" clId="{512482B5-203D-4C07-9231-50ED04F688B1}" dt="2019-02-05T14:14:20.650" v="1683" actId="1037"/>
          <ac:spMkLst>
            <pc:docMk/>
            <pc:sldMk cId="1591283079" sldId="344"/>
            <ac:spMk id="20" creationId="{75D24880-566C-4DF7-917D-36AEF4E53F10}"/>
          </ac:spMkLst>
        </pc:spChg>
        <pc:spChg chg="mod">
          <ac:chgData name="Antonio S." userId="2ffef37bb70309e0" providerId="LiveId" clId="{512482B5-203D-4C07-9231-50ED04F688B1}" dt="2019-02-05T14:15:28.238" v="1714" actId="1038"/>
          <ac:spMkLst>
            <pc:docMk/>
            <pc:sldMk cId="1591283079" sldId="344"/>
            <ac:spMk id="21" creationId="{EC1551A9-95E5-45D8-8DD3-B9A456EF5436}"/>
          </ac:spMkLst>
        </pc:spChg>
        <pc:spChg chg="add mod">
          <ac:chgData name="Antonio S." userId="2ffef37bb70309e0" providerId="LiveId" clId="{512482B5-203D-4C07-9231-50ED04F688B1}" dt="2019-02-05T14:12:25.669" v="1549" actId="1038"/>
          <ac:spMkLst>
            <pc:docMk/>
            <pc:sldMk cId="1591283079" sldId="344"/>
            <ac:spMk id="23" creationId="{5D28115B-67FD-426E-98C7-6C501EC5C275}"/>
          </ac:spMkLst>
        </pc:spChg>
        <pc:spChg chg="mod">
          <ac:chgData name="Antonio S." userId="2ffef37bb70309e0" providerId="LiveId" clId="{512482B5-203D-4C07-9231-50ED04F688B1}" dt="2019-02-05T14:13:36.857" v="1598" actId="1076"/>
          <ac:spMkLst>
            <pc:docMk/>
            <pc:sldMk cId="1591283079" sldId="344"/>
            <ac:spMk id="25" creationId="{3FE8577F-A0B2-4DB6-A613-481C6A28E2B7}"/>
          </ac:spMkLst>
        </pc:spChg>
        <pc:spChg chg="add mod">
          <ac:chgData name="Antonio S." userId="2ffef37bb70309e0" providerId="LiveId" clId="{512482B5-203D-4C07-9231-50ED04F688B1}" dt="2019-02-10T18:04:43.739" v="1881" actId="12788"/>
          <ac:spMkLst>
            <pc:docMk/>
            <pc:sldMk cId="1591283079" sldId="344"/>
            <ac:spMk id="26" creationId="{BA4916A7-C60B-4573-8CA9-6AAF8374CF11}"/>
          </ac:spMkLst>
        </pc:spChg>
        <pc:spChg chg="del mod">
          <ac:chgData name="Antonio S." userId="2ffef37bb70309e0" providerId="LiveId" clId="{512482B5-203D-4C07-9231-50ED04F688B1}" dt="2019-02-03T18:20:00.140" v="1374" actId="478"/>
          <ac:spMkLst>
            <pc:docMk/>
            <pc:sldMk cId="1591283079" sldId="344"/>
            <ac:spMk id="29" creationId="{EC412585-FF5D-40B2-ACFF-9F3C85D9B22B}"/>
          </ac:spMkLst>
        </pc:spChg>
        <pc:spChg chg="add mod">
          <ac:chgData name="Antonio S." userId="2ffef37bb70309e0" providerId="LiveId" clId="{512482B5-203D-4C07-9231-50ED04F688B1}" dt="2019-02-05T14:12:25.669" v="1549" actId="1038"/>
          <ac:spMkLst>
            <pc:docMk/>
            <pc:sldMk cId="1591283079" sldId="344"/>
            <ac:spMk id="31" creationId="{7A5BEFDA-3455-489F-BACE-00C0A435D840}"/>
          </ac:spMkLst>
        </pc:spChg>
        <pc:spChg chg="add mod">
          <ac:chgData name="Antonio S." userId="2ffef37bb70309e0" providerId="LiveId" clId="{512482B5-203D-4C07-9231-50ED04F688B1}" dt="2019-02-10T18:04:43.739" v="1881" actId="12788"/>
          <ac:spMkLst>
            <pc:docMk/>
            <pc:sldMk cId="1591283079" sldId="344"/>
            <ac:spMk id="32" creationId="{E6E87226-67CD-4E13-BDA6-147A1874A206}"/>
          </ac:spMkLst>
        </pc:spChg>
        <pc:spChg chg="add mod">
          <ac:chgData name="Antonio S." userId="2ffef37bb70309e0" providerId="LiveId" clId="{512482B5-203D-4C07-9231-50ED04F688B1}" dt="2019-02-10T18:04:43.739" v="1881" actId="12788"/>
          <ac:spMkLst>
            <pc:docMk/>
            <pc:sldMk cId="1591283079" sldId="344"/>
            <ac:spMk id="33" creationId="{1481004A-A116-4CA6-BE7F-203D3EAB2053}"/>
          </ac:spMkLst>
        </pc:spChg>
        <pc:spChg chg="add mod">
          <ac:chgData name="Antonio S." userId="2ffef37bb70309e0" providerId="LiveId" clId="{512482B5-203D-4C07-9231-50ED04F688B1}" dt="2019-02-05T14:15:16.439" v="1700" actId="1037"/>
          <ac:spMkLst>
            <pc:docMk/>
            <pc:sldMk cId="1591283079" sldId="344"/>
            <ac:spMk id="34" creationId="{533045B1-7E20-4968-97D6-18A80D51074D}"/>
          </ac:spMkLst>
        </pc:spChg>
        <pc:spChg chg="add del mod">
          <ac:chgData name="Antonio S." userId="2ffef37bb70309e0" providerId="LiveId" clId="{512482B5-203D-4C07-9231-50ED04F688B1}" dt="2019-02-03T18:13:43.452" v="1122" actId="478"/>
          <ac:spMkLst>
            <pc:docMk/>
            <pc:sldMk cId="1591283079" sldId="344"/>
            <ac:spMk id="35" creationId="{5AE13964-99D7-4A54-AE21-6ACD79A17648}"/>
          </ac:spMkLst>
        </pc:spChg>
        <pc:spChg chg="add mod">
          <ac:chgData name="Antonio S." userId="2ffef37bb70309e0" providerId="LiveId" clId="{512482B5-203D-4C07-9231-50ED04F688B1}" dt="2019-02-05T14:15:50.326" v="1716" actId="14100"/>
          <ac:spMkLst>
            <pc:docMk/>
            <pc:sldMk cId="1591283079" sldId="344"/>
            <ac:spMk id="35" creationId="{953F6A06-C541-4211-A1B2-A2530845FC43}"/>
          </ac:spMkLst>
        </pc:spChg>
        <pc:spChg chg="add mod">
          <ac:chgData name="Antonio S." userId="2ffef37bb70309e0" providerId="LiveId" clId="{512482B5-203D-4C07-9231-50ED04F688B1}" dt="2019-02-05T14:13:56.970" v="1608" actId="1076"/>
          <ac:spMkLst>
            <pc:docMk/>
            <pc:sldMk cId="1591283079" sldId="344"/>
            <ac:spMk id="36" creationId="{26F6D9C2-CCA5-4C4C-870C-D3A2B9CAFABC}"/>
          </ac:spMkLst>
        </pc:spChg>
        <pc:spChg chg="add mod">
          <ac:chgData name="Antonio S." userId="2ffef37bb70309e0" providerId="LiveId" clId="{512482B5-203D-4C07-9231-50ED04F688B1}" dt="2019-02-05T14:14:49.652" v="1688" actId="1076"/>
          <ac:spMkLst>
            <pc:docMk/>
            <pc:sldMk cId="1591283079" sldId="344"/>
            <ac:spMk id="38" creationId="{121FE0E2-2497-4DE9-834A-F84CD5FC758F}"/>
          </ac:spMkLst>
        </pc:spChg>
        <pc:spChg chg="add mod">
          <ac:chgData name="Antonio S." userId="2ffef37bb70309e0" providerId="LiveId" clId="{512482B5-203D-4C07-9231-50ED04F688B1}" dt="2019-02-05T14:12:40.948" v="1575" actId="1035"/>
          <ac:spMkLst>
            <pc:docMk/>
            <pc:sldMk cId="1591283079" sldId="344"/>
            <ac:spMk id="42" creationId="{FAFA5BBD-0900-4B24-87CA-5A3E17E036FE}"/>
          </ac:spMkLst>
        </pc:spChg>
        <pc:spChg chg="add mod">
          <ac:chgData name="Antonio S." userId="2ffef37bb70309e0" providerId="LiveId" clId="{512482B5-203D-4C07-9231-50ED04F688B1}" dt="2019-02-05T14:12:40.948" v="1575" actId="1035"/>
          <ac:spMkLst>
            <pc:docMk/>
            <pc:sldMk cId="1591283079" sldId="344"/>
            <ac:spMk id="44" creationId="{0794FE15-FB41-418B-B750-881768A47470}"/>
          </ac:spMkLst>
        </pc:spChg>
        <pc:spChg chg="add mod">
          <ac:chgData name="Antonio S." userId="2ffef37bb70309e0" providerId="LiveId" clId="{512482B5-203D-4C07-9231-50ED04F688B1}" dt="2019-02-05T14:12:40.948" v="1575" actId="1035"/>
          <ac:spMkLst>
            <pc:docMk/>
            <pc:sldMk cId="1591283079" sldId="344"/>
            <ac:spMk id="46" creationId="{3E456B45-A718-4AE8-A322-03480DB2EFE2}"/>
          </ac:spMkLst>
        </pc:spChg>
        <pc:spChg chg="add mod">
          <ac:chgData name="Antonio S." userId="2ffef37bb70309e0" providerId="LiveId" clId="{512482B5-203D-4C07-9231-50ED04F688B1}" dt="2019-02-05T14:14:57.624" v="1690" actId="1076"/>
          <ac:spMkLst>
            <pc:docMk/>
            <pc:sldMk cId="1591283079" sldId="344"/>
            <ac:spMk id="47" creationId="{CD044DE1-CCED-481C-AEBE-08C445BD4587}"/>
          </ac:spMkLst>
        </pc:spChg>
        <pc:spChg chg="mod">
          <ac:chgData name="Antonio S." userId="2ffef37bb70309e0" providerId="LiveId" clId="{512482B5-203D-4C07-9231-50ED04F688B1}" dt="2019-02-10T18:04:43.739" v="1881" actId="12788"/>
          <ac:spMkLst>
            <pc:docMk/>
            <pc:sldMk cId="1591283079" sldId="344"/>
            <ac:spMk id="51" creationId="{370302EF-2C03-C642-94EF-861C7EC4C883}"/>
          </ac:spMkLst>
        </pc:spChg>
        <pc:picChg chg="mod">
          <ac:chgData name="Antonio S." userId="2ffef37bb70309e0" providerId="LiveId" clId="{512482B5-203D-4C07-9231-50ED04F688B1}" dt="2019-02-05T14:12:25.669" v="1549" actId="1038"/>
          <ac:picMkLst>
            <pc:docMk/>
            <pc:sldMk cId="1591283079" sldId="344"/>
            <ac:picMk id="7" creationId="{58B5524C-FA3B-4BB6-A82C-A1BD215BAFDA}"/>
          </ac:picMkLst>
        </pc:picChg>
        <pc:picChg chg="add mod">
          <ac:chgData name="Antonio S." userId="2ffef37bb70309e0" providerId="LiveId" clId="{512482B5-203D-4C07-9231-50ED04F688B1}" dt="2019-02-05T14:15:28.238" v="1714" actId="1038"/>
          <ac:picMkLst>
            <pc:docMk/>
            <pc:sldMk cId="1591283079" sldId="344"/>
            <ac:picMk id="9" creationId="{1D31F990-10F3-4E3F-8518-B4AB6BF93DE6}"/>
          </ac:picMkLst>
        </pc:picChg>
        <pc:picChg chg="mod">
          <ac:chgData name="Antonio S." userId="2ffef37bb70309e0" providerId="LiveId" clId="{512482B5-203D-4C07-9231-50ED04F688B1}" dt="2019-02-05T14:14:20.650" v="1683" actId="1037"/>
          <ac:picMkLst>
            <pc:docMk/>
            <pc:sldMk cId="1591283079" sldId="344"/>
            <ac:picMk id="11" creationId="{D0A7AB0B-C0F0-4287-8EAB-1CCF947D567E}"/>
          </ac:picMkLst>
        </pc:picChg>
        <pc:picChg chg="del mod">
          <ac:chgData name="Antonio S." userId="2ffef37bb70309e0" providerId="LiveId" clId="{512482B5-203D-4C07-9231-50ED04F688B1}" dt="2019-02-03T18:14:17.686" v="1138" actId="478"/>
          <ac:picMkLst>
            <pc:docMk/>
            <pc:sldMk cId="1591283079" sldId="344"/>
            <ac:picMk id="18" creationId="{B05C14B4-EC80-4EA0-842E-9DBD6D2B86E7}"/>
          </ac:picMkLst>
        </pc:picChg>
        <pc:picChg chg="del mod">
          <ac:chgData name="Antonio S." userId="2ffef37bb70309e0" providerId="LiveId" clId="{512482B5-203D-4C07-9231-50ED04F688B1}" dt="2019-02-03T18:14:17.686" v="1138" actId="478"/>
          <ac:picMkLst>
            <pc:docMk/>
            <pc:sldMk cId="1591283079" sldId="344"/>
            <ac:picMk id="22" creationId="{BACAC9B3-7991-4202-B0DD-9E881328290B}"/>
          </ac:picMkLst>
        </pc:picChg>
        <pc:picChg chg="del mod">
          <ac:chgData name="Antonio S." userId="2ffef37bb70309e0" providerId="LiveId" clId="{512482B5-203D-4C07-9231-50ED04F688B1}" dt="2019-02-03T18:14:17.686" v="1138" actId="478"/>
          <ac:picMkLst>
            <pc:docMk/>
            <pc:sldMk cId="1591283079" sldId="344"/>
            <ac:picMk id="24" creationId="{2E02EA88-5A8E-4D88-93D9-E0E6D9A5D3EE}"/>
          </ac:picMkLst>
        </pc:picChg>
        <pc:picChg chg="del mod">
          <ac:chgData name="Antonio S." userId="2ffef37bb70309e0" providerId="LiveId" clId="{512482B5-203D-4C07-9231-50ED04F688B1}" dt="2019-02-03T18:20:00.140" v="1374" actId="478"/>
          <ac:picMkLst>
            <pc:docMk/>
            <pc:sldMk cId="1591283079" sldId="344"/>
            <ac:picMk id="27" creationId="{EB44F612-D69C-4567-8903-DD057B1C0DA5}"/>
          </ac:picMkLst>
        </pc:picChg>
        <pc:picChg chg="del mod">
          <ac:chgData name="Antonio S." userId="2ffef37bb70309e0" providerId="LiveId" clId="{512482B5-203D-4C07-9231-50ED04F688B1}" dt="2019-02-03T18:20:00.140" v="1374" actId="478"/>
          <ac:picMkLst>
            <pc:docMk/>
            <pc:sldMk cId="1591283079" sldId="344"/>
            <ac:picMk id="28" creationId="{57B55942-8F87-431E-A814-B49C13FB761E}"/>
          </ac:picMkLst>
        </pc:picChg>
        <pc:picChg chg="mod">
          <ac:chgData name="Antonio S." userId="2ffef37bb70309e0" providerId="LiveId" clId="{512482B5-203D-4C07-9231-50ED04F688B1}" dt="2019-02-05T14:12:25.669" v="1549" actId="1038"/>
          <ac:picMkLst>
            <pc:docMk/>
            <pc:sldMk cId="1591283079" sldId="344"/>
            <ac:picMk id="30" creationId="{1FBD0A06-623C-4405-99D3-E1865E50AC2A}"/>
          </ac:picMkLst>
        </pc:picChg>
        <pc:picChg chg="add mod">
          <ac:chgData name="Antonio S." userId="2ffef37bb70309e0" providerId="LiveId" clId="{512482B5-203D-4C07-9231-50ED04F688B1}" dt="2019-02-05T14:12:40.948" v="1575" actId="1035"/>
          <ac:picMkLst>
            <pc:docMk/>
            <pc:sldMk cId="1591283079" sldId="344"/>
            <ac:picMk id="37" creationId="{956CE874-1359-468A-99AB-B6712EB5C7D3}"/>
          </ac:picMkLst>
        </pc:picChg>
        <pc:picChg chg="add mod">
          <ac:chgData name="Antonio S." userId="2ffef37bb70309e0" providerId="LiveId" clId="{512482B5-203D-4C07-9231-50ED04F688B1}" dt="2019-02-03T18:20:57.339" v="1391" actId="1076"/>
          <ac:picMkLst>
            <pc:docMk/>
            <pc:sldMk cId="1591283079" sldId="344"/>
            <ac:picMk id="38" creationId="{25A904F4-A1DC-477B-BC4A-73B94F8E2DA8}"/>
          </ac:picMkLst>
        </pc:picChg>
        <pc:picChg chg="add mod">
          <ac:chgData name="Antonio S." userId="2ffef37bb70309e0" providerId="LiveId" clId="{512482B5-203D-4C07-9231-50ED04F688B1}" dt="2019-02-05T14:12:40.948" v="1575" actId="1035"/>
          <ac:picMkLst>
            <pc:docMk/>
            <pc:sldMk cId="1591283079" sldId="344"/>
            <ac:picMk id="39" creationId="{1303747D-FA44-441D-AD45-71A4305C301D}"/>
          </ac:picMkLst>
        </pc:picChg>
        <pc:picChg chg="add mod">
          <ac:chgData name="Antonio S." userId="2ffef37bb70309e0" providerId="LiveId" clId="{512482B5-203D-4C07-9231-50ED04F688B1}" dt="2019-02-05T14:12:40.948" v="1575" actId="1035"/>
          <ac:picMkLst>
            <pc:docMk/>
            <pc:sldMk cId="1591283079" sldId="344"/>
            <ac:picMk id="40" creationId="{C3F0B61E-3506-4EE3-935D-1E62BF5593F7}"/>
          </ac:picMkLst>
        </pc:picChg>
        <pc:picChg chg="add mod">
          <ac:chgData name="Antonio S." userId="2ffef37bb70309e0" providerId="LiveId" clId="{512482B5-203D-4C07-9231-50ED04F688B1}" dt="2019-02-03T18:20:57.339" v="1391" actId="1076"/>
          <ac:picMkLst>
            <pc:docMk/>
            <pc:sldMk cId="1591283079" sldId="344"/>
            <ac:picMk id="41" creationId="{51BD9B8A-8D64-48CC-93B9-B10B072F93EA}"/>
          </ac:picMkLst>
        </pc:picChg>
        <pc:picChg chg="add mod">
          <ac:chgData name="Antonio S." userId="2ffef37bb70309e0" providerId="LiveId" clId="{512482B5-203D-4C07-9231-50ED04F688B1}" dt="2019-02-05T14:14:45.662" v="1687" actId="1076"/>
          <ac:picMkLst>
            <pc:docMk/>
            <pc:sldMk cId="1591283079" sldId="344"/>
            <ac:picMk id="41" creationId="{67DE8E7F-53A3-4194-AAA7-B6E826A9236F}"/>
          </ac:picMkLst>
        </pc:picChg>
        <pc:picChg chg="add mod">
          <ac:chgData name="Antonio S." userId="2ffef37bb70309e0" providerId="LiveId" clId="{512482B5-203D-4C07-9231-50ED04F688B1}" dt="2019-02-05T14:12:40.948" v="1575" actId="1035"/>
          <ac:picMkLst>
            <pc:docMk/>
            <pc:sldMk cId="1591283079" sldId="344"/>
            <ac:picMk id="43" creationId="{5192741A-4355-4CC2-9A46-D72202AF5A1F}"/>
          </ac:picMkLst>
        </pc:picChg>
        <pc:picChg chg="add mod">
          <ac:chgData name="Antonio S." userId="2ffef37bb70309e0" providerId="LiveId" clId="{512482B5-203D-4C07-9231-50ED04F688B1}" dt="2019-02-05T14:12:40.948" v="1575" actId="1035"/>
          <ac:picMkLst>
            <pc:docMk/>
            <pc:sldMk cId="1591283079" sldId="344"/>
            <ac:picMk id="45" creationId="{10A83E16-402F-452E-A144-8421AF4E825C}"/>
          </ac:picMkLst>
        </pc:picChg>
      </pc:sldChg>
      <pc:sldChg chg="modSp">
        <pc:chgData name="Antonio S." userId="2ffef37bb70309e0" providerId="LiveId" clId="{512482B5-203D-4C07-9231-50ED04F688B1}" dt="2019-02-12T22:29:12.821" v="2335" actId="20577"/>
        <pc:sldMkLst>
          <pc:docMk/>
          <pc:sldMk cId="2445467899" sldId="354"/>
        </pc:sldMkLst>
        <pc:spChg chg="mod">
          <ac:chgData name="Antonio S." userId="2ffef37bb70309e0" providerId="LiveId" clId="{512482B5-203D-4C07-9231-50ED04F688B1}" dt="2019-02-12T22:29:12.821" v="2335" actId="20577"/>
          <ac:spMkLst>
            <pc:docMk/>
            <pc:sldMk cId="2445467899" sldId="354"/>
            <ac:spMk id="2" creationId="{4FBA80E1-84AA-44AD-8103-BE96F0DFD7CD}"/>
          </ac:spMkLst>
        </pc:spChg>
      </pc:sldChg>
      <pc:sldChg chg="modSp delCm">
        <pc:chgData name="Antonio S." userId="2ffef37bb70309e0" providerId="LiveId" clId="{512482B5-203D-4C07-9231-50ED04F688B1}" dt="2019-02-12T22:27:25.292" v="2331" actId="20577"/>
        <pc:sldMkLst>
          <pc:docMk/>
          <pc:sldMk cId="4241012387" sldId="357"/>
        </pc:sldMkLst>
        <pc:spChg chg="mod">
          <ac:chgData name="Antonio S." userId="2ffef37bb70309e0" providerId="LiveId" clId="{512482B5-203D-4C07-9231-50ED04F688B1}" dt="2019-02-12T22:27:25.292" v="2331" actId="20577"/>
          <ac:spMkLst>
            <pc:docMk/>
            <pc:sldMk cId="4241012387" sldId="357"/>
            <ac:spMk id="3" creationId="{096CD252-F124-4A79-ADCD-AF2D3EDD1643}"/>
          </ac:spMkLst>
        </pc:spChg>
      </pc:sldChg>
      <pc:sldChg chg="modSp addCm delCm modCm">
        <pc:chgData name="Antonio S." userId="2ffef37bb70309e0" providerId="LiveId" clId="{512482B5-203D-4C07-9231-50ED04F688B1}" dt="2019-02-12T22:29:40.097" v="2338"/>
        <pc:sldMkLst>
          <pc:docMk/>
          <pc:sldMk cId="3147023879" sldId="358"/>
        </pc:sldMkLst>
        <pc:spChg chg="mod">
          <ac:chgData name="Antonio S." userId="2ffef37bb70309e0" providerId="LiveId" clId="{512482B5-203D-4C07-9231-50ED04F688B1}" dt="2019-02-10T18:13:09.374" v="1898" actId="20577"/>
          <ac:spMkLst>
            <pc:docMk/>
            <pc:sldMk cId="3147023879" sldId="358"/>
            <ac:spMk id="3" creationId="{E75585DA-C64F-437B-8076-16EA56E404E8}"/>
          </ac:spMkLst>
        </pc:spChg>
      </pc:sldChg>
      <pc:sldChg chg="addSp delSp modSp ord addCm">
        <pc:chgData name="Antonio S." userId="2ffef37bb70309e0" providerId="LiveId" clId="{512482B5-203D-4C07-9231-50ED04F688B1}" dt="2019-02-12T22:27:18.298" v="2328"/>
        <pc:sldMkLst>
          <pc:docMk/>
          <pc:sldMk cId="3496777796" sldId="359"/>
        </pc:sldMkLst>
        <pc:picChg chg="add del mod">
          <ac:chgData name="Antonio S." userId="2ffef37bb70309e0" providerId="LiveId" clId="{512482B5-203D-4C07-9231-50ED04F688B1}" dt="2019-02-10T17:55:05.946" v="1871" actId="478"/>
          <ac:picMkLst>
            <pc:docMk/>
            <pc:sldMk cId="3496777796" sldId="359"/>
            <ac:picMk id="6" creationId="{2A42C8FA-FBE3-475E-B8F1-AE3D234B7F03}"/>
          </ac:picMkLst>
        </pc:picChg>
        <pc:picChg chg="add mod">
          <ac:chgData name="Antonio S." userId="2ffef37bb70309e0" providerId="LiveId" clId="{512482B5-203D-4C07-9231-50ED04F688B1}" dt="2019-02-10T17:55:22.889" v="1878" actId="1076"/>
          <ac:picMkLst>
            <pc:docMk/>
            <pc:sldMk cId="3496777796" sldId="359"/>
            <ac:picMk id="7" creationId="{B18A9EA0-32C4-4BD0-939B-D8724F54CCA8}"/>
          </ac:picMkLst>
        </pc:picChg>
        <pc:picChg chg="del">
          <ac:chgData name="Antonio S." userId="2ffef37bb70309e0" providerId="LiveId" clId="{512482B5-203D-4C07-9231-50ED04F688B1}" dt="2019-02-10T13:37:30.126" v="1741" actId="478"/>
          <ac:picMkLst>
            <pc:docMk/>
            <pc:sldMk cId="3496777796" sldId="359"/>
            <ac:picMk id="15" creationId="{66E07592-19DD-194A-9FB7-B5C5CDFE6FAF}"/>
          </ac:picMkLst>
        </pc:picChg>
      </pc:sldChg>
      <pc:sldChg chg="modSp addCm modCm">
        <pc:chgData name="Antonio S." userId="2ffef37bb70309e0" providerId="LiveId" clId="{512482B5-203D-4C07-9231-50ED04F688B1}" dt="2019-02-12T22:29:06.905" v="2332" actId="20577"/>
        <pc:sldMkLst>
          <pc:docMk/>
          <pc:sldMk cId="1802135091" sldId="361"/>
        </pc:sldMkLst>
        <pc:spChg chg="mod">
          <ac:chgData name="Antonio S." userId="2ffef37bb70309e0" providerId="LiveId" clId="{512482B5-203D-4C07-9231-50ED04F688B1}" dt="2019-02-12T22:29:06.905" v="2332" actId="20577"/>
          <ac:spMkLst>
            <pc:docMk/>
            <pc:sldMk cId="1802135091" sldId="361"/>
            <ac:spMk id="2" creationId="{28CAB685-70DC-8642-8DD0-765C83A4DD59}"/>
          </ac:spMkLst>
        </pc:spChg>
      </pc:sldChg>
      <pc:sldChg chg="addSp delSp modSp add modNotesTx">
        <pc:chgData name="Antonio S." userId="2ffef37bb70309e0" providerId="LiveId" clId="{512482B5-203D-4C07-9231-50ED04F688B1}" dt="2019-02-10T22:02:55.149" v="2130" actId="20577"/>
        <pc:sldMkLst>
          <pc:docMk/>
          <pc:sldMk cId="449367235" sldId="365"/>
        </pc:sldMkLst>
        <pc:spChg chg="mod">
          <ac:chgData name="Antonio S." userId="2ffef37bb70309e0" providerId="LiveId" clId="{512482B5-203D-4C07-9231-50ED04F688B1}" dt="2019-02-10T13:45:36.140" v="1752"/>
          <ac:spMkLst>
            <pc:docMk/>
            <pc:sldMk cId="449367235" sldId="365"/>
            <ac:spMk id="2" creationId="{0EA23B96-F599-4C73-8981-3BA959DA4F4F}"/>
          </ac:spMkLst>
        </pc:spChg>
        <pc:spChg chg="del">
          <ac:chgData name="Antonio S." userId="2ffef37bb70309e0" providerId="LiveId" clId="{512482B5-203D-4C07-9231-50ED04F688B1}" dt="2019-02-10T13:45:25.935" v="1749" actId="478"/>
          <ac:spMkLst>
            <pc:docMk/>
            <pc:sldMk cId="449367235" sldId="365"/>
            <ac:spMk id="3" creationId="{12924BEE-46F5-4D13-A569-8EC86914E5F1}"/>
          </ac:spMkLst>
        </pc:spChg>
        <pc:spChg chg="add mod">
          <ac:chgData name="Antonio S." userId="2ffef37bb70309e0" providerId="LiveId" clId="{512482B5-203D-4C07-9231-50ED04F688B1}" dt="2019-02-10T13:46:18.369" v="1760" actId="1076"/>
          <ac:spMkLst>
            <pc:docMk/>
            <pc:sldMk cId="449367235" sldId="365"/>
            <ac:spMk id="6" creationId="{EDD51E06-F696-47EF-880C-2D8DA88683FB}"/>
          </ac:spMkLst>
        </pc:spChg>
        <pc:spChg chg="add del mod">
          <ac:chgData name="Antonio S." userId="2ffef37bb70309e0" providerId="LiveId" clId="{512482B5-203D-4C07-9231-50ED04F688B1}" dt="2019-02-10T13:46:38.228" v="1771" actId="478"/>
          <ac:spMkLst>
            <pc:docMk/>
            <pc:sldMk cId="449367235" sldId="365"/>
            <ac:spMk id="8" creationId="{FE9BC7AC-95A8-4DD2-BD47-0D7734A2DFD4}"/>
          </ac:spMkLst>
        </pc:spChg>
        <pc:spChg chg="add mod">
          <ac:chgData name="Antonio S." userId="2ffef37bb70309e0" providerId="LiveId" clId="{512482B5-203D-4C07-9231-50ED04F688B1}" dt="2019-02-10T13:46:51.857" v="1774" actId="1076"/>
          <ac:spMkLst>
            <pc:docMk/>
            <pc:sldMk cId="449367235" sldId="365"/>
            <ac:spMk id="10" creationId="{8D808EC2-84FD-4F39-AE78-842D794B7965}"/>
          </ac:spMkLst>
        </pc:spChg>
        <pc:graphicFrameChg chg="add mod">
          <ac:chgData name="Antonio S." userId="2ffef37bb70309e0" providerId="LiveId" clId="{512482B5-203D-4C07-9231-50ED04F688B1}" dt="2019-02-10T22:02:55.149" v="2130" actId="20577"/>
          <ac:graphicFrameMkLst>
            <pc:docMk/>
            <pc:sldMk cId="449367235" sldId="365"/>
            <ac:graphicFrameMk id="7" creationId="{0D5A4370-4F0B-46F7-9538-2E4C40F3CBF8}"/>
          </ac:graphicFrameMkLst>
        </pc:graphicFrameChg>
        <pc:graphicFrameChg chg="add mod">
          <ac:chgData name="Antonio S." userId="2ffef37bb70309e0" providerId="LiveId" clId="{512482B5-203D-4C07-9231-50ED04F688B1}" dt="2019-02-10T18:10:27.478" v="1887" actId="113"/>
          <ac:graphicFrameMkLst>
            <pc:docMk/>
            <pc:sldMk cId="449367235" sldId="365"/>
            <ac:graphicFrameMk id="9" creationId="{E96D0E1C-AC19-47B3-8AB2-9FD14F283717}"/>
          </ac:graphicFrameMkLst>
        </pc:graphicFrameChg>
      </pc:sldChg>
      <pc:sldChg chg="modSp">
        <pc:chgData name="Antonio S." userId="2ffef37bb70309e0" providerId="LiveId" clId="{512482B5-203D-4C07-9231-50ED04F688B1}" dt="2019-02-12T22:09:03.147" v="2143" actId="403"/>
        <pc:sldMkLst>
          <pc:docMk/>
          <pc:sldMk cId="754332965" sldId="378"/>
        </pc:sldMkLst>
        <pc:graphicFrameChg chg="mod">
          <ac:chgData name="Antonio S." userId="2ffef37bb70309e0" providerId="LiveId" clId="{512482B5-203D-4C07-9231-50ED04F688B1}" dt="2019-02-12T22:09:03.147" v="2143" actId="403"/>
          <ac:graphicFrameMkLst>
            <pc:docMk/>
            <pc:sldMk cId="754332965" sldId="378"/>
            <ac:graphicFrameMk id="20" creationId="{A13DA86A-3660-4678-9430-EC0B96A1016C}"/>
          </ac:graphicFrameMkLst>
        </pc:graphicFrameChg>
      </pc:sldChg>
      <pc:sldChg chg="addSp delSp modSp add ord modNotesTx">
        <pc:chgData name="Antonio S." userId="2ffef37bb70309e0" providerId="LiveId" clId="{512482B5-203D-4C07-9231-50ED04F688B1}" dt="2019-02-12T22:22:09.595" v="2319"/>
        <pc:sldMkLst>
          <pc:docMk/>
          <pc:sldMk cId="165206610" sldId="385"/>
        </pc:sldMkLst>
        <pc:spChg chg="mod">
          <ac:chgData name="Antonio S." userId="2ffef37bb70309e0" providerId="LiveId" clId="{512482B5-203D-4C07-9231-50ED04F688B1}" dt="2019-02-12T22:21:23.088" v="2297" actId="1076"/>
          <ac:spMkLst>
            <pc:docMk/>
            <pc:sldMk cId="165206610" sldId="385"/>
            <ac:spMk id="2" creationId="{BFE3641D-64DF-48B9-B811-4C12027AA285}"/>
          </ac:spMkLst>
        </pc:spChg>
        <pc:spChg chg="del">
          <ac:chgData name="Antonio S." userId="2ffef37bb70309e0" providerId="LiveId" clId="{512482B5-203D-4C07-9231-50ED04F688B1}" dt="2019-02-12T22:17:34.652" v="2149" actId="478"/>
          <ac:spMkLst>
            <pc:docMk/>
            <pc:sldMk cId="165206610" sldId="385"/>
            <ac:spMk id="3" creationId="{BCCEFDFE-6E33-44AD-9BC6-F9D95E19EE22}"/>
          </ac:spMkLst>
        </pc:spChg>
        <pc:spChg chg="add mod">
          <ac:chgData name="Antonio S." userId="2ffef37bb70309e0" providerId="LiveId" clId="{512482B5-203D-4C07-9231-50ED04F688B1}" dt="2019-02-12T22:21:47.840" v="2305" actId="12788"/>
          <ac:spMkLst>
            <pc:docMk/>
            <pc:sldMk cId="165206610" sldId="385"/>
            <ac:spMk id="9" creationId="{AEB0C68B-8EAA-48A2-8BC3-80ACA61EFEBF}"/>
          </ac:spMkLst>
        </pc:spChg>
        <pc:spChg chg="add mod">
          <ac:chgData name="Antonio S." userId="2ffef37bb70309e0" providerId="LiveId" clId="{512482B5-203D-4C07-9231-50ED04F688B1}" dt="2019-02-12T22:21:47.840" v="2305" actId="12788"/>
          <ac:spMkLst>
            <pc:docMk/>
            <pc:sldMk cId="165206610" sldId="385"/>
            <ac:spMk id="10" creationId="{0A87EB42-992A-4FF0-8C76-209A12FA1DE0}"/>
          </ac:spMkLst>
        </pc:spChg>
        <pc:spChg chg="add mod">
          <ac:chgData name="Antonio S." userId="2ffef37bb70309e0" providerId="LiveId" clId="{512482B5-203D-4C07-9231-50ED04F688B1}" dt="2019-02-12T22:21:47.840" v="2305" actId="12788"/>
          <ac:spMkLst>
            <pc:docMk/>
            <pc:sldMk cId="165206610" sldId="385"/>
            <ac:spMk id="16" creationId="{98601EE2-B21A-49D4-BD6A-D7221A251F34}"/>
          </ac:spMkLst>
        </pc:spChg>
        <pc:spChg chg="add mod">
          <ac:chgData name="Antonio S." userId="2ffef37bb70309e0" providerId="LiveId" clId="{512482B5-203D-4C07-9231-50ED04F688B1}" dt="2019-02-12T22:21:47.840" v="2305" actId="12788"/>
          <ac:spMkLst>
            <pc:docMk/>
            <pc:sldMk cId="165206610" sldId="385"/>
            <ac:spMk id="17" creationId="{956E868F-0D7C-465B-9B4E-5DDEFA569AEC}"/>
          </ac:spMkLst>
        </pc:spChg>
        <pc:graphicFrameChg chg="add mod">
          <ac:chgData name="Antonio S." userId="2ffef37bb70309e0" providerId="LiveId" clId="{512482B5-203D-4C07-9231-50ED04F688B1}" dt="2019-02-12T22:21:58.887" v="2315" actId="1038"/>
          <ac:graphicFrameMkLst>
            <pc:docMk/>
            <pc:sldMk cId="165206610" sldId="385"/>
            <ac:graphicFrameMk id="6" creationId="{B6734332-F9E9-41AB-8822-5AD19CDBFCF1}"/>
          </ac:graphicFrameMkLst>
        </pc:graphicFrameChg>
        <pc:picChg chg="add mod">
          <ac:chgData name="Antonio S." userId="2ffef37bb70309e0" providerId="LiveId" clId="{512482B5-203D-4C07-9231-50ED04F688B1}" dt="2019-02-12T22:21:47.840" v="2305" actId="12788"/>
          <ac:picMkLst>
            <pc:docMk/>
            <pc:sldMk cId="165206610" sldId="385"/>
            <ac:picMk id="7" creationId="{14C3CA3E-2707-4E88-B4AC-19807D9FDB6D}"/>
          </ac:picMkLst>
        </pc:picChg>
        <pc:picChg chg="add mod">
          <ac:chgData name="Antonio S." userId="2ffef37bb70309e0" providerId="LiveId" clId="{512482B5-203D-4C07-9231-50ED04F688B1}" dt="2019-02-12T22:21:47.840" v="2305" actId="12788"/>
          <ac:picMkLst>
            <pc:docMk/>
            <pc:sldMk cId="165206610" sldId="385"/>
            <ac:picMk id="8" creationId="{391172E4-DA34-4358-9B8A-EBF4CCBBEFFF}"/>
          </ac:picMkLst>
        </pc:picChg>
        <pc:picChg chg="add mod">
          <ac:chgData name="Antonio S." userId="2ffef37bb70309e0" providerId="LiveId" clId="{512482B5-203D-4C07-9231-50ED04F688B1}" dt="2019-02-12T22:21:58.887" v="2315" actId="1038"/>
          <ac:picMkLst>
            <pc:docMk/>
            <pc:sldMk cId="165206610" sldId="385"/>
            <ac:picMk id="11" creationId="{DA1D34A1-285C-41B3-A589-2573EBFA05B0}"/>
          </ac:picMkLst>
        </pc:picChg>
        <pc:picChg chg="add mod">
          <ac:chgData name="Antonio S." userId="2ffef37bb70309e0" providerId="LiveId" clId="{512482B5-203D-4C07-9231-50ED04F688B1}" dt="2019-02-12T22:21:58.887" v="2315" actId="1038"/>
          <ac:picMkLst>
            <pc:docMk/>
            <pc:sldMk cId="165206610" sldId="385"/>
            <ac:picMk id="12" creationId="{C2099553-35AA-4FDC-BD12-F4BD94908BDA}"/>
          </ac:picMkLst>
        </pc:picChg>
        <pc:picChg chg="add mod">
          <ac:chgData name="Antonio S." userId="2ffef37bb70309e0" providerId="LiveId" clId="{512482B5-203D-4C07-9231-50ED04F688B1}" dt="2019-02-12T22:21:58.887" v="2315" actId="1038"/>
          <ac:picMkLst>
            <pc:docMk/>
            <pc:sldMk cId="165206610" sldId="385"/>
            <ac:picMk id="13" creationId="{479C684D-CB4C-41F0-B6BD-02649A6D4411}"/>
          </ac:picMkLst>
        </pc:picChg>
        <pc:picChg chg="add mod">
          <ac:chgData name="Antonio S." userId="2ffef37bb70309e0" providerId="LiveId" clId="{512482B5-203D-4C07-9231-50ED04F688B1}" dt="2019-02-12T22:21:58.887" v="2315" actId="1038"/>
          <ac:picMkLst>
            <pc:docMk/>
            <pc:sldMk cId="165206610" sldId="385"/>
            <ac:picMk id="14" creationId="{BEE5324F-ACB0-4DD2-84F9-6EB06427A9F8}"/>
          </ac:picMkLst>
        </pc:picChg>
        <pc:picChg chg="add mod">
          <ac:chgData name="Antonio S." userId="2ffef37bb70309e0" providerId="LiveId" clId="{512482B5-203D-4C07-9231-50ED04F688B1}" dt="2019-02-12T22:21:58.887" v="2315" actId="1038"/>
          <ac:picMkLst>
            <pc:docMk/>
            <pc:sldMk cId="165206610" sldId="385"/>
            <ac:picMk id="15" creationId="{D8186B36-BAF6-4724-AA87-AF3DCB414F10}"/>
          </ac:picMkLst>
        </pc:picChg>
      </pc:sldChg>
    </pc:docChg>
  </pc:docChgLst>
  <pc:docChgLst>
    <pc:chgData name="Domenic Bosin" userId="ec2299825f152fcb" providerId="Windows Live" clId="Web-{F530FC68-3032-4031-A57B-16F27D5132C4}"/>
    <pc:docChg chg="addSld modSld sldOrd modSection">
      <pc:chgData name="Domenic Bosin" userId="ec2299825f152fcb" providerId="Windows Live" clId="Web-{F530FC68-3032-4031-A57B-16F27D5132C4}" dt="2019-02-07T12:50:32.822" v="222"/>
      <pc:docMkLst>
        <pc:docMk/>
      </pc:docMkLst>
      <pc:sldChg chg="modSp add ord replId modNotes">
        <pc:chgData name="Domenic Bosin" userId="ec2299825f152fcb" providerId="Windows Live" clId="Web-{F530FC68-3032-4031-A57B-16F27D5132C4}" dt="2019-02-07T12:50:32.822" v="222"/>
        <pc:sldMkLst>
          <pc:docMk/>
          <pc:sldMk cId="3147023879" sldId="358"/>
        </pc:sldMkLst>
        <pc:spChg chg="mod">
          <ac:chgData name="Domenic Bosin" userId="ec2299825f152fcb" providerId="Windows Live" clId="Web-{F530FC68-3032-4031-A57B-16F27D5132C4}" dt="2019-02-07T12:43:31.320" v="28" actId="20577"/>
          <ac:spMkLst>
            <pc:docMk/>
            <pc:sldMk cId="3147023879" sldId="358"/>
            <ac:spMk id="2" creationId="{963B81F2-2CD0-4797-B79A-BCFC4932967C}"/>
          </ac:spMkLst>
        </pc:spChg>
        <pc:spChg chg="mod">
          <ac:chgData name="Domenic Bosin" userId="ec2299825f152fcb" providerId="Windows Live" clId="Web-{F530FC68-3032-4031-A57B-16F27D5132C4}" dt="2019-02-07T12:48:25.337" v="137" actId="20577"/>
          <ac:spMkLst>
            <pc:docMk/>
            <pc:sldMk cId="3147023879" sldId="358"/>
            <ac:spMk id="3" creationId="{E75585DA-C64F-437B-8076-16EA56E404E8}"/>
          </ac:spMkLst>
        </pc:spChg>
      </pc:sldChg>
    </pc:docChg>
  </pc:docChgLst>
  <pc:docChgLst>
    <pc:chgData name="Christoph Witzko" userId="2f3a363482c7f5d6" providerId="Windows Live" clId="Web-{0F3AFDAF-B824-4F7F-9615-EFCCD20C9C69}"/>
    <pc:docChg chg="modSld">
      <pc:chgData name="Christoph Witzko" userId="2f3a363482c7f5d6" providerId="Windows Live" clId="Web-{0F3AFDAF-B824-4F7F-9615-EFCCD20C9C69}" dt="2019-02-11T12:33:14.950" v="28" actId="20577"/>
      <pc:docMkLst>
        <pc:docMk/>
      </pc:docMkLst>
      <pc:sldChg chg="modSp">
        <pc:chgData name="Christoph Witzko" userId="2f3a363482c7f5d6" providerId="Windows Live" clId="Web-{0F3AFDAF-B824-4F7F-9615-EFCCD20C9C69}" dt="2019-02-11T12:33:14.950" v="27" actId="20577"/>
        <pc:sldMkLst>
          <pc:docMk/>
          <pc:sldMk cId="2274450700" sldId="356"/>
        </pc:sldMkLst>
        <pc:spChg chg="mod">
          <ac:chgData name="Christoph Witzko" userId="2f3a363482c7f5d6" providerId="Windows Live" clId="Web-{0F3AFDAF-B824-4F7F-9615-EFCCD20C9C69}" dt="2019-02-11T12:33:14.950" v="27" actId="20577"/>
          <ac:spMkLst>
            <pc:docMk/>
            <pc:sldMk cId="2274450700" sldId="356"/>
            <ac:spMk id="11" creationId="{DD716E22-F428-1147-B7C0-54FAB28310C2}"/>
          </ac:spMkLst>
        </pc:spChg>
      </pc:sldChg>
      <pc:sldChg chg="modSp">
        <pc:chgData name="Christoph Witzko" userId="2f3a363482c7f5d6" providerId="Windows Live" clId="Web-{0F3AFDAF-B824-4F7F-9615-EFCCD20C9C69}" dt="2019-02-11T10:25:22.762" v="9" actId="20577"/>
        <pc:sldMkLst>
          <pc:docMk/>
          <pc:sldMk cId="3751617013" sldId="372"/>
        </pc:sldMkLst>
        <pc:spChg chg="mod">
          <ac:chgData name="Christoph Witzko" userId="2f3a363482c7f5d6" providerId="Windows Live" clId="Web-{0F3AFDAF-B824-4F7F-9615-EFCCD20C9C69}" dt="2019-02-11T10:25:22.762" v="9" actId="20577"/>
          <ac:spMkLst>
            <pc:docMk/>
            <pc:sldMk cId="3751617013" sldId="372"/>
            <ac:spMk id="2" creationId="{9BE65419-0BBA-4AF7-B633-D618BE6A0EFA}"/>
          </ac:spMkLst>
        </pc:spChg>
      </pc:sldChg>
    </pc:docChg>
  </pc:docChgLst>
  <pc:docChgLst>
    <pc:chgData name="Marius Möck" userId="2d5fa6978198d51d" providerId="Windows Live" clId="Web-{F769B905-B29D-46A7-9422-B7E0857B9607}"/>
  </pc:docChgLst>
  <pc:docChgLst>
    <pc:chgData name="Domenic Bosin" userId="f27d954ac5aa4257" providerId="Windows Live" clId="Web-{238C5FFB-B22A-4EDD-8FA5-7A7D2FFAFA12}"/>
  </pc:docChgLst>
  <pc:docChgLst>
    <pc:chgData name="Marius Möck" userId="2d5fa6978198d51d" providerId="Windows Live" clId="Web-{3505196D-0CB0-48AA-9B67-2CE139B6FBE6}"/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FA09806B-41E8-4E89-BFEA-FCA5FD18BDF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63085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orteil: niedrige </a:t>
            </a:r>
            <a:r>
              <a:rPr lang="de-DE" dirty="0" err="1"/>
              <a:t>latenzen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Nachteil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- dynamisch </a:t>
            </a:r>
            <a:r>
              <a:rPr lang="de-DE" dirty="0" err="1"/>
              <a:t>nodes</a:t>
            </a:r>
            <a:r>
              <a:rPr lang="de-DE" dirty="0"/>
              <a:t> wegfall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- </a:t>
            </a:r>
            <a:r>
              <a:rPr lang="de-DE" dirty="0" err="1"/>
              <a:t>netzwerkverbindung</a:t>
            </a:r>
            <a:r>
              <a:rPr lang="de-DE" dirty="0"/>
              <a:t> verschlechter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958043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Nodes wurden nacheinander eingeschaltet</a:t>
            </a:r>
          </a:p>
          <a:p>
            <a:pPr marL="171450" indent="-171450">
              <a:buFontTx/>
              <a:buChar char="-"/>
            </a:pPr>
            <a:r>
              <a:rPr lang="de-DE" dirty="0"/>
              <a:t>Netzwerk nicht belastet</a:t>
            </a:r>
          </a:p>
          <a:p>
            <a:pPr marL="171450" indent="-171450">
              <a:buFontTx/>
              <a:buChar char="-"/>
            </a:pPr>
            <a:r>
              <a:rPr lang="de-DE" dirty="0"/>
              <a:t>Schritt zwei anders als erwart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4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315978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Drei </a:t>
            </a:r>
            <a:r>
              <a:rPr lang="de-DE" dirty="0" err="1"/>
              <a:t>nodes</a:t>
            </a:r>
            <a:r>
              <a:rPr lang="de-DE" dirty="0"/>
              <a:t> online</a:t>
            </a:r>
          </a:p>
          <a:p>
            <a:pPr marL="171450" indent="-171450">
              <a:buFontTx/>
              <a:buChar char="-"/>
            </a:pPr>
            <a:r>
              <a:rPr lang="de-DE" dirty="0"/>
              <a:t>Zuerst </a:t>
            </a:r>
            <a:r>
              <a:rPr lang="de-DE" dirty="0" err="1"/>
              <a:t>netzwerk</a:t>
            </a:r>
            <a:r>
              <a:rPr lang="de-DE" dirty="0"/>
              <a:t> normal, dann belastet, dann normal (</a:t>
            </a:r>
            <a:r>
              <a:rPr lang="de-DE" dirty="0" err="1"/>
              <a:t>traffic</a:t>
            </a:r>
            <a:r>
              <a:rPr lang="de-DE" dirty="0"/>
              <a:t> nicht von </a:t>
            </a:r>
            <a:r>
              <a:rPr lang="de-DE" dirty="0" err="1"/>
              <a:t>fog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, sondern andere, unbekannte </a:t>
            </a:r>
            <a:r>
              <a:rPr lang="de-DE" dirty="0" err="1"/>
              <a:t>netzwerkteilnehmer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Detector</a:t>
            </a:r>
            <a:r>
              <a:rPr lang="de-DE" dirty="0"/>
              <a:t> wurde von der </a:t>
            </a:r>
            <a:r>
              <a:rPr lang="de-DE" dirty="0" err="1"/>
              <a:t>cloud</a:t>
            </a:r>
            <a:r>
              <a:rPr lang="de-DE" dirty="0"/>
              <a:t> auf einen </a:t>
            </a:r>
            <a:r>
              <a:rPr lang="de-DE" dirty="0" err="1"/>
              <a:t>fog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bewegt, was die </a:t>
            </a:r>
            <a:r>
              <a:rPr lang="de-DE" dirty="0" err="1"/>
              <a:t>latenz</a:t>
            </a:r>
            <a:r>
              <a:rPr lang="de-DE" dirty="0"/>
              <a:t> minimiert hat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transfer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</a:t>
            </a:r>
            <a:r>
              <a:rPr lang="de-DE" dirty="0" err="1"/>
              <a:t>image</a:t>
            </a:r>
            <a:r>
              <a:rPr lang="de-DE" dirty="0"/>
              <a:t> (1,382 KB) </a:t>
            </a:r>
            <a:r>
              <a:rPr lang="de-DE" dirty="0" err="1"/>
              <a:t>took</a:t>
            </a:r>
            <a:r>
              <a:rPr lang="de-DE" dirty="0"/>
              <a:t> 7,641 </a:t>
            </a:r>
            <a:r>
              <a:rPr lang="de-DE" dirty="0" err="1"/>
              <a:t>milliseconds</a:t>
            </a:r>
            <a:r>
              <a:rPr lang="de-DE" dirty="0"/>
              <a:t> </a:t>
            </a: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1,192 </a:t>
            </a:r>
            <a:r>
              <a:rPr lang="de-DE" dirty="0" err="1"/>
              <a:t>milliseconds</a:t>
            </a:r>
            <a:r>
              <a:rPr lang="de-DE" dirty="0"/>
              <a:t> in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one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Orchestrator</a:t>
            </a:r>
            <a:r>
              <a:rPr lang="de-DE" dirty="0"/>
              <a:t> hat es gemerkt durch auswerten des </a:t>
            </a:r>
            <a:r>
              <a:rPr lang="de-DE" dirty="0" err="1"/>
              <a:t>statistics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 </a:t>
            </a:r>
            <a:r>
              <a:rPr lang="de-DE" dirty="0" err="1">
                <a:sym typeface="Wingdings" pitchFamily="2" charset="2"/>
              </a:rPr>
              <a:t>bandbreite</a:t>
            </a:r>
            <a:r>
              <a:rPr lang="de-DE" dirty="0">
                <a:sym typeface="Wingdings" pitchFamily="2" charset="2"/>
              </a:rPr>
              <a:t> aktualisiert und neues </a:t>
            </a:r>
            <a:r>
              <a:rPr lang="de-DE" dirty="0" err="1">
                <a:sym typeface="Wingdings" pitchFamily="2" charset="2"/>
              </a:rPr>
              <a:t>deployment</a:t>
            </a:r>
            <a:r>
              <a:rPr lang="de-DE" dirty="0">
                <a:sym typeface="Wingdings" pitchFamily="2" charset="2"/>
              </a:rPr>
              <a:t> berechnet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Anschließend zurück, nachdem </a:t>
            </a:r>
            <a:r>
              <a:rPr lang="de-DE" dirty="0" err="1"/>
              <a:t>netzwerk</a:t>
            </a:r>
            <a:r>
              <a:rPr lang="de-DE" dirty="0"/>
              <a:t> nicht mehr belastet war (erkannt durch regelmäßige </a:t>
            </a:r>
            <a:r>
              <a:rPr lang="de-DE" dirty="0" err="1"/>
              <a:t>remeasurements</a:t>
            </a:r>
            <a:r>
              <a:rPr lang="de-DE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4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64594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- </a:t>
            </a:r>
            <a:r>
              <a:rPr lang="de-DE" dirty="0" err="1"/>
              <a:t>Sysbench</a:t>
            </a:r>
            <a:r>
              <a:rPr lang="de-DE" dirty="0"/>
              <a:t>: CLI </a:t>
            </a:r>
            <a:r>
              <a:rPr lang="de-DE" dirty="0" err="1"/>
              <a:t>tool</a:t>
            </a:r>
            <a:r>
              <a:rPr lang="de-DE" dirty="0"/>
              <a:t> das nach </a:t>
            </a:r>
            <a:r>
              <a:rPr lang="de-DE" dirty="0" err="1"/>
              <a:t>primzahlen</a:t>
            </a:r>
            <a:r>
              <a:rPr lang="de-DE" dirty="0"/>
              <a:t> zwischen 1 und einer </a:t>
            </a:r>
            <a:r>
              <a:rPr lang="de-DE" dirty="0" err="1"/>
              <a:t>obergrenze</a:t>
            </a:r>
            <a:r>
              <a:rPr lang="de-DE" dirty="0"/>
              <a:t> sucht (2.000 in unserem fall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- CPU score benutzt für </a:t>
            </a:r>
            <a:r>
              <a:rPr lang="de-DE" dirty="0" err="1"/>
              <a:t>cpuMips</a:t>
            </a:r>
            <a:r>
              <a:rPr lang="de-DE" dirty="0"/>
              <a:t> (</a:t>
            </a:r>
            <a:r>
              <a:rPr lang="de-DE" dirty="0" err="1"/>
              <a:t>FogNode</a:t>
            </a:r>
            <a:r>
              <a:rPr lang="de-DE" dirty="0"/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-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instructions</a:t>
            </a:r>
            <a:r>
              <a:rPr lang="de-DE" dirty="0"/>
              <a:t> für Modul müssen entsprechen gesetz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4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964488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Smart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technique</a:t>
            </a:r>
            <a:r>
              <a:rPr lang="de-DE" dirty="0"/>
              <a:t>: nur in frage kommende </a:t>
            </a:r>
            <a:r>
              <a:rPr lang="de-DE" dirty="0" err="1"/>
              <a:t>verbindungen</a:t>
            </a:r>
            <a:r>
              <a:rPr lang="de-DE" dirty="0"/>
              <a:t> regelmäßig prüfen, um keinen unnötigen </a:t>
            </a:r>
            <a:r>
              <a:rPr lang="de-DE" dirty="0" err="1"/>
              <a:t>netzwerktraffic</a:t>
            </a:r>
            <a:r>
              <a:rPr lang="de-DE" dirty="0"/>
              <a:t> zu erzeugen. Oder direkt </a:t>
            </a:r>
            <a:r>
              <a:rPr lang="de-DE" dirty="0" err="1"/>
              <a:t>daten</a:t>
            </a:r>
            <a:r>
              <a:rPr lang="de-DE" dirty="0"/>
              <a:t> vom </a:t>
            </a:r>
            <a:r>
              <a:rPr lang="de-DE" dirty="0" err="1"/>
              <a:t>router</a:t>
            </a:r>
            <a:r>
              <a:rPr lang="de-DE" dirty="0"/>
              <a:t> bekom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4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64336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w-Entwicklungs</a:t>
            </a:r>
            <a:r>
              <a:rPr lang="de-DE" dirty="0"/>
              <a:t> </a:t>
            </a:r>
            <a:r>
              <a:rPr lang="de-DE" dirty="0" err="1"/>
              <a:t>tool</a:t>
            </a:r>
            <a:endParaRPr lang="de-DE" dirty="0"/>
          </a:p>
          <a:p>
            <a:r>
              <a:rPr lang="de-DE" dirty="0"/>
              <a:t>Flow-basiertes programmieren</a:t>
            </a:r>
          </a:p>
          <a:p>
            <a:r>
              <a:rPr lang="de-DE" dirty="0"/>
              <a:t>Nodes reinziehen und verbin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68728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x HW-Module</a:t>
            </a:r>
          </a:p>
          <a:p>
            <a:r>
              <a:rPr lang="de-DE" dirty="0"/>
              <a:t>3x SW-Module</a:t>
            </a:r>
          </a:p>
          <a:p>
            <a:r>
              <a:rPr lang="de-DE" dirty="0"/>
              <a:t>3x Message</a:t>
            </a:r>
          </a:p>
          <a:p>
            <a:r>
              <a:rPr lang="de-DE" dirty="0"/>
              <a:t>1x </a:t>
            </a:r>
            <a:r>
              <a:rPr lang="de-DE" dirty="0" err="1"/>
              <a:t>AppLoop</a:t>
            </a:r>
            <a:r>
              <a:rPr lang="de-DE" dirty="0"/>
              <a:t> (</a:t>
            </a:r>
            <a:r>
              <a:rPr lang="de-DE" dirty="0" err="1"/>
              <a:t>Camera</a:t>
            </a:r>
            <a:r>
              <a:rPr lang="de-DE" dirty="0"/>
              <a:t> --&gt; Image Viewer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98677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42302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erweiterung</a:t>
            </a:r>
            <a:r>
              <a:rPr lang="de-DE" dirty="0"/>
              <a:t> von </a:t>
            </a:r>
            <a:r>
              <a:rPr lang="de-DE" dirty="0" err="1"/>
              <a:t>node-red</a:t>
            </a:r>
            <a:endParaRPr lang="de-DE" dirty="0"/>
          </a:p>
          <a:p>
            <a:r>
              <a:rPr lang="de-DE" dirty="0"/>
              <a:t>- ermöglicht verteiltes ausführen einzelner kno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700466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dell von </a:t>
            </a:r>
            <a:r>
              <a:rPr lang="de-DE" dirty="0" err="1"/>
              <a:t>iFogSim</a:t>
            </a:r>
            <a:r>
              <a:rPr lang="de-DE" dirty="0"/>
              <a:t> inspir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555360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kombination</a:t>
            </a:r>
            <a:r>
              <a:rPr lang="de-DE" dirty="0"/>
              <a:t> aus allen </a:t>
            </a:r>
            <a:r>
              <a:rPr lang="de-DE" dirty="0" err="1"/>
              <a:t>modulen</a:t>
            </a:r>
            <a:r>
              <a:rPr lang="de-DE" dirty="0"/>
              <a:t> / </a:t>
            </a:r>
            <a:r>
              <a:rPr lang="de-DE" dirty="0" err="1"/>
              <a:t>nodes</a:t>
            </a:r>
            <a:endParaRPr lang="de-DE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- </a:t>
            </a:r>
            <a:r>
              <a:rPr lang="de-DE" dirty="0" err="1"/>
              <a:t>hardware</a:t>
            </a:r>
            <a:r>
              <a:rPr lang="de-DE" dirty="0"/>
              <a:t> / </a:t>
            </a:r>
            <a:r>
              <a:rPr lang="de-DE" dirty="0" err="1"/>
              <a:t>latency</a:t>
            </a:r>
            <a:r>
              <a:rPr lang="de-DE" dirty="0"/>
              <a:t> nicht beachtet</a:t>
            </a:r>
          </a:p>
          <a:p>
            <a:r>
              <a:rPr lang="de-DE" dirty="0"/>
              <a:t>- 9 mögli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34893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pplication</a:t>
            </a:r>
            <a:r>
              <a:rPr lang="de-DE" dirty="0"/>
              <a:t> ist statisch in </a:t>
            </a:r>
            <a:r>
              <a:rPr lang="de-DE" dirty="0" err="1"/>
              <a:t>Orchestrato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3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83481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Node</a:t>
            </a:r>
            <a:r>
              <a:rPr lang="de-DE" dirty="0"/>
              <a:t>-RED kann nichts initialisieren – nur </a:t>
            </a:r>
            <a:r>
              <a:rPr lang="de-DE" dirty="0" err="1"/>
              <a:t>nodes</a:t>
            </a:r>
            <a:r>
              <a:rPr lang="de-DE" dirty="0"/>
              <a:t> nacheinander ausführen, keinen (</a:t>
            </a:r>
            <a:r>
              <a:rPr lang="de-DE" dirty="0" err="1"/>
              <a:t>python</a:t>
            </a:r>
            <a:r>
              <a:rPr lang="de-DE" dirty="0"/>
              <a:t>) </a:t>
            </a:r>
            <a:r>
              <a:rPr lang="de-DE" dirty="0" err="1"/>
              <a:t>state</a:t>
            </a:r>
            <a:r>
              <a:rPr lang="de-DE" dirty="0"/>
              <a:t> halten</a:t>
            </a:r>
          </a:p>
          <a:p>
            <a:r>
              <a:rPr lang="de-DE" dirty="0" err="1"/>
              <a:t>Exec</a:t>
            </a:r>
            <a:r>
              <a:rPr lang="de-DE" dirty="0"/>
              <a:t> auf </a:t>
            </a:r>
            <a:r>
              <a:rPr lang="de-DE" dirty="0" err="1"/>
              <a:t>konso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9806B-41E8-4E89-BFEA-FCA5FD18BDF1}" type="slidenum">
              <a:rPr lang="de-DE" altLang="de-DE" smtClean="0"/>
              <a:pPr/>
              <a:t>3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68203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4.jpeg"/><Relationship Id="rId4" Type="http://schemas.openxmlformats.org/officeDocument/2006/relationships/tags" Target="../tags/tag11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4600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912570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F060E6D7-F486-4E36-8664-51DFAE73B7A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0811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984578" cy="185738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7D337B0E-5884-45E0-8647-6199ADB866A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9833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7056586" cy="1857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8460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7128594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EB89ED31-51FF-43D8-B607-9B832B40635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614963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7200602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0BFE9991-814D-4109-9A8B-37AAF11003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5486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984578" cy="1524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B5AC5BF3-B4DD-4E81-A2AB-3901180D3DD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547143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984578" cy="1857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E23DD058-D295-4483-BF1D-75B4EDB9443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1447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912570" cy="1857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5967F85C-4F27-49B9-9A1A-BD99A618FB4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26088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7056586" cy="1778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F251BC8B-507F-4CD3-A01F-0FACA93879E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63098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912570" cy="1524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age </a:t>
            </a:r>
            <a:fld id="{F0858C16-7FC6-48BD-A1F9-366FB6C4887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1686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Daniel Sebastian Lienau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Page </a:t>
            </a:r>
            <a:fld id="{35BF66A9-59B9-44D1-BC2E-A70A08A882BC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" r:id="rId22" imgW="0" imgH="0" progId="TCLayout.ActiveDocument.1">
                  <p:embed/>
                </p:oleObj>
              </mc:Choice>
              <mc:Fallback>
                <p:oleObj r:id="rId22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6" name="Picture 22" descr="TU_130227_PPT_Bild-Hausecke_Streifen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solidFill>
                  <a:schemeClr val="bg1"/>
                </a:solidFill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38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1" r:id="rId8"/>
    <p:sldLayoutId id="2147483680" r:id="rId9"/>
    <p:sldLayoutId id="2147483682" r:id="rId10"/>
    <p:sldLayoutId id="214748368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tif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tiff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99E6C2-5E67-4168-A128-015C823CC5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50" y="4679297"/>
            <a:ext cx="8061325" cy="743280"/>
          </a:xfrm>
        </p:spPr>
        <p:txBody>
          <a:bodyPr/>
          <a:lstStyle/>
          <a:p>
            <a:r>
              <a:rPr lang="de-DE" dirty="0" err="1"/>
              <a:t>Enabling</a:t>
            </a:r>
            <a:r>
              <a:rPr lang="de-DE" dirty="0"/>
              <a:t> </a:t>
            </a:r>
            <a:r>
              <a:rPr lang="de-DE" dirty="0" err="1"/>
              <a:t>QoS</a:t>
            </a:r>
            <a:r>
              <a:rPr lang="de-DE" dirty="0"/>
              <a:t>-Aware Task </a:t>
            </a:r>
            <a:r>
              <a:rPr lang="de-DE" dirty="0" err="1"/>
              <a:t>Execution</a:t>
            </a:r>
            <a:r>
              <a:rPr lang="de-DE" dirty="0"/>
              <a:t> on Distributed </a:t>
            </a:r>
            <a:br>
              <a:rPr lang="de-DE" dirty="0"/>
            </a:br>
            <a:r>
              <a:rPr lang="de-DE" dirty="0" err="1"/>
              <a:t>Node</a:t>
            </a:r>
            <a:r>
              <a:rPr lang="de-DE" dirty="0"/>
              <a:t>-RED Clusters </a:t>
            </a:r>
            <a:r>
              <a:rPr lang="de-DE" dirty="0" err="1"/>
              <a:t>for</a:t>
            </a:r>
            <a:r>
              <a:rPr lang="de-DE" dirty="0"/>
              <a:t> Fog Computing Environment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432980A-44AA-43F8-8226-E7B9ECC3F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50" y="5692167"/>
            <a:ext cx="8061325" cy="246671"/>
          </a:xfrm>
        </p:spPr>
        <p:txBody>
          <a:bodyPr/>
          <a:lstStyle/>
          <a:p>
            <a:r>
              <a:rPr lang="de-DE" altLang="de-DE" sz="1200" dirty="0"/>
              <a:t>Daniel Sebastian Lienau</a:t>
            </a:r>
          </a:p>
        </p:txBody>
      </p:sp>
    </p:spTree>
    <p:extLst>
      <p:ext uri="{BB962C8B-B14F-4D97-AF65-F5344CB8AC3E}">
        <p14:creationId xmlns:p14="http://schemas.microsoft.com/office/powerpoint/2010/main" val="18733003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0153B-5E9A-3F4D-AACD-57E244F55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72192-5C3F-AC49-9CF7-FCC345374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de-DE" dirty="0" err="1"/>
              <a:t>Introduction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/>
              <a:t>Fog </a:t>
            </a:r>
            <a:r>
              <a:rPr lang="de-DE" dirty="0" err="1"/>
              <a:t>Architecture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 err="1"/>
              <a:t>Node</a:t>
            </a:r>
            <a:r>
              <a:rPr lang="de-DE" dirty="0"/>
              <a:t>-RED</a:t>
            </a:r>
          </a:p>
          <a:p>
            <a:pPr>
              <a:buFont typeface="+mj-lt"/>
              <a:buAutoNum type="arabicPeriod"/>
            </a:pPr>
            <a:r>
              <a:rPr lang="de-DE" dirty="0"/>
              <a:t>Task Distribution</a:t>
            </a:r>
          </a:p>
          <a:p>
            <a:pPr>
              <a:buFont typeface="+mj-lt"/>
              <a:buAutoNum type="arabicPeriod"/>
            </a:pPr>
            <a:r>
              <a:rPr lang="de-DE" b="1" dirty="0" err="1"/>
              <a:t>QoS</a:t>
            </a:r>
            <a:r>
              <a:rPr lang="de-DE" b="1" dirty="0"/>
              <a:t> </a:t>
            </a:r>
            <a:r>
              <a:rPr lang="de-DE" b="1" dirty="0" err="1"/>
              <a:t>Scheduling</a:t>
            </a:r>
            <a:r>
              <a:rPr lang="de-DE" b="1" dirty="0"/>
              <a:t> </a:t>
            </a:r>
            <a:r>
              <a:rPr lang="de-DE" b="1" dirty="0" err="1"/>
              <a:t>Algorithm</a:t>
            </a:r>
            <a:endParaRPr lang="de-DE" b="1" dirty="0"/>
          </a:p>
          <a:p>
            <a:pPr>
              <a:buFont typeface="+mj-lt"/>
              <a:buAutoNum type="arabicPeriod"/>
            </a:pPr>
            <a:r>
              <a:rPr lang="de-DE" dirty="0" err="1"/>
              <a:t>Orchestrator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valuation</a:t>
            </a:r>
          </a:p>
          <a:p>
            <a:pPr>
              <a:buFont typeface="+mj-lt"/>
              <a:buAutoNum type="arabicPeriod"/>
            </a:pPr>
            <a:r>
              <a:rPr lang="de-DE" dirty="0"/>
              <a:t>Future Wor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0F3E33-BEA9-5B41-9EAC-0AB1D95E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CC3A18-8132-C847-A7F9-7C6CB5083A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4608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5074B9-A497-4F48-8122-CD0AAE513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QoS</a:t>
            </a:r>
            <a:r>
              <a:rPr lang="de-DE" dirty="0"/>
              <a:t>-Aware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173F79-280F-5C40-8E09-926C730F9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1313A16-78C2-F548-AD94-370F3F6A96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1</a:t>
            </a:fld>
            <a:endParaRPr lang="de-DE" alt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6453E40-8EFA-3E4A-B72C-B3F36ACC0E80}"/>
              </a:ext>
            </a:extLst>
          </p:cNvPr>
          <p:cNvSpPr txBox="1"/>
          <p:nvPr/>
        </p:nvSpPr>
        <p:spPr>
          <a:xfrm>
            <a:off x="949935" y="2580291"/>
            <a:ext cx="1732709" cy="12003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 err="1">
                <a:solidFill>
                  <a:schemeClr val="tx1"/>
                </a:solidFill>
              </a:rPr>
              <a:t>Application</a:t>
            </a:r>
            <a:endParaRPr lang="de-DE" b="1" dirty="0">
              <a:solidFill>
                <a:schemeClr val="tx1"/>
              </a:solidFill>
            </a:endParaRPr>
          </a:p>
          <a:p>
            <a:pPr algn="l"/>
            <a:endParaRPr lang="de-DE" b="1" dirty="0">
              <a:solidFill>
                <a:schemeClr val="tx1"/>
              </a:solidFill>
            </a:endParaRPr>
          </a:p>
          <a:p>
            <a:pPr marL="171450" indent="-171450" algn="l">
              <a:buFontTx/>
              <a:buChar char="-"/>
            </a:pPr>
            <a:r>
              <a:rPr lang="de-DE" dirty="0">
                <a:solidFill>
                  <a:schemeClr val="tx1"/>
                </a:solidFill>
              </a:rPr>
              <a:t>Modules</a:t>
            </a:r>
          </a:p>
          <a:p>
            <a:pPr marL="171450" indent="-171450" algn="l">
              <a:buFontTx/>
              <a:buChar char="-"/>
            </a:pPr>
            <a:r>
              <a:rPr lang="de-DE" dirty="0">
                <a:solidFill>
                  <a:schemeClr val="tx1"/>
                </a:solidFill>
              </a:rPr>
              <a:t>Messages</a:t>
            </a:r>
          </a:p>
          <a:p>
            <a:pPr marL="171450" indent="-171450" algn="l">
              <a:buFontTx/>
              <a:buChar char="-"/>
            </a:pPr>
            <a:r>
              <a:rPr lang="de-DE" dirty="0">
                <a:solidFill>
                  <a:schemeClr val="tx1"/>
                </a:solidFill>
              </a:rPr>
              <a:t>Loops</a:t>
            </a:r>
          </a:p>
          <a:p>
            <a:pPr marL="171450" indent="-171450" algn="l">
              <a:buFontTx/>
              <a:buChar char="-"/>
            </a:pPr>
            <a:r>
              <a:rPr lang="de-DE" dirty="0" err="1">
                <a:solidFill>
                  <a:schemeClr val="tx1"/>
                </a:solidFill>
              </a:rPr>
              <a:t>Qo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quirement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9E25B6-4C07-9E4B-962A-FC8FEAC0F7EC}"/>
              </a:ext>
            </a:extLst>
          </p:cNvPr>
          <p:cNvSpPr txBox="1"/>
          <p:nvPr/>
        </p:nvSpPr>
        <p:spPr>
          <a:xfrm>
            <a:off x="949934" y="4440378"/>
            <a:ext cx="1732709" cy="101566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Infrastructure</a:t>
            </a:r>
          </a:p>
          <a:p>
            <a:pPr algn="l"/>
            <a:endParaRPr lang="de-DE" b="1" dirty="0">
              <a:solidFill>
                <a:schemeClr val="tx1"/>
              </a:solidFill>
            </a:endParaRPr>
          </a:p>
          <a:p>
            <a:pPr marL="171450" indent="-171450" algn="l">
              <a:buFontTx/>
              <a:buChar char="-"/>
            </a:pPr>
            <a:r>
              <a:rPr lang="de-DE" dirty="0">
                <a:solidFill>
                  <a:schemeClr val="tx1"/>
                </a:solidFill>
              </a:rPr>
              <a:t>Fog </a:t>
            </a:r>
            <a:r>
              <a:rPr lang="de-DE" dirty="0" err="1">
                <a:solidFill>
                  <a:schemeClr val="tx1"/>
                </a:solidFill>
              </a:rPr>
              <a:t>nodes</a:t>
            </a:r>
            <a:endParaRPr lang="de-DE" dirty="0">
              <a:solidFill>
                <a:schemeClr val="tx1"/>
              </a:solidFill>
            </a:endParaRPr>
          </a:p>
          <a:p>
            <a:pPr marL="171450" indent="-171450" algn="l">
              <a:buFontTx/>
              <a:buChar char="-"/>
            </a:pPr>
            <a:r>
              <a:rPr lang="de-DE" dirty="0">
                <a:solidFill>
                  <a:schemeClr val="tx1"/>
                </a:solidFill>
              </a:rPr>
              <a:t>Network </a:t>
            </a:r>
            <a:r>
              <a:rPr lang="de-DE" dirty="0" err="1">
                <a:solidFill>
                  <a:schemeClr val="tx1"/>
                </a:solidFill>
              </a:rPr>
              <a:t>connec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252A49E-C22A-6D44-9EF2-71A852D221A7}"/>
              </a:ext>
            </a:extLst>
          </p:cNvPr>
          <p:cNvSpPr txBox="1"/>
          <p:nvPr/>
        </p:nvSpPr>
        <p:spPr>
          <a:xfrm>
            <a:off x="3651433" y="2580291"/>
            <a:ext cx="1622909" cy="286232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r>
              <a:rPr lang="de-DE" b="1" dirty="0" err="1">
                <a:solidFill>
                  <a:schemeClr val="tx1"/>
                </a:solidFill>
              </a:rPr>
              <a:t>Algorithm</a:t>
            </a:r>
            <a:endParaRPr lang="de-DE" b="1" dirty="0">
              <a:solidFill>
                <a:schemeClr val="tx1"/>
              </a:solidFill>
            </a:endParaRPr>
          </a:p>
          <a:p>
            <a:pPr algn="l"/>
            <a:endParaRPr lang="de-DE" b="1" dirty="0">
              <a:solidFill>
                <a:schemeClr val="tx1"/>
              </a:solidFill>
            </a:endParaRPr>
          </a:p>
          <a:p>
            <a:pPr algn="l"/>
            <a:endParaRPr lang="de-DE" b="1" dirty="0">
              <a:solidFill>
                <a:schemeClr val="tx1"/>
              </a:solidFill>
            </a:endParaRPr>
          </a:p>
          <a:p>
            <a:pPr algn="l"/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endParaRPr lang="de-DE" b="1" dirty="0">
              <a:solidFill>
                <a:schemeClr val="tx1"/>
              </a:solidFill>
            </a:endParaRPr>
          </a:p>
          <a:p>
            <a:pPr algn="l"/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0CB3822-C1A1-E74E-B3A4-B8BB39D232BB}"/>
              </a:ext>
            </a:extLst>
          </p:cNvPr>
          <p:cNvSpPr txBox="1"/>
          <p:nvPr/>
        </p:nvSpPr>
        <p:spPr>
          <a:xfrm>
            <a:off x="6352933" y="2594312"/>
            <a:ext cx="1622909" cy="286232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Optimal </a:t>
            </a:r>
            <a:r>
              <a:rPr lang="de-DE" b="1" dirty="0" err="1">
                <a:solidFill>
                  <a:schemeClr val="tx1"/>
                </a:solidFill>
              </a:rPr>
              <a:t>Deployment</a:t>
            </a:r>
            <a:r>
              <a:rPr lang="de-DE" b="1" dirty="0">
                <a:solidFill>
                  <a:schemeClr val="tx1"/>
                </a:solidFill>
              </a:rPr>
              <a:t> </a:t>
            </a:r>
            <a:r>
              <a:rPr lang="de-DE" b="1" dirty="0" err="1">
                <a:solidFill>
                  <a:schemeClr val="tx1"/>
                </a:solidFill>
              </a:rPr>
              <a:t>Strategy</a:t>
            </a:r>
            <a:endParaRPr lang="de-DE" b="1" dirty="0">
              <a:solidFill>
                <a:schemeClr val="tx1"/>
              </a:solidFill>
            </a:endParaRPr>
          </a:p>
          <a:p>
            <a:pPr algn="l"/>
            <a:endParaRPr lang="de-DE" b="1" dirty="0">
              <a:solidFill>
                <a:schemeClr val="tx1"/>
              </a:solidFill>
            </a:endParaRPr>
          </a:p>
          <a:p>
            <a:pPr algn="l"/>
            <a:r>
              <a:rPr lang="de-DE" dirty="0">
                <a:solidFill>
                  <a:schemeClr val="tx1"/>
                </a:solidFill>
              </a:rPr>
              <a:t>Module </a:t>
            </a:r>
            <a:r>
              <a:rPr lang="de-DE" dirty="0">
                <a:solidFill>
                  <a:schemeClr val="tx1"/>
                </a:solidFill>
                <a:sym typeface="Wingdings" pitchFamily="2" charset="2"/>
              </a:rPr>
              <a:t></a:t>
            </a:r>
            <a:r>
              <a:rPr lang="de-DE" dirty="0">
                <a:solidFill>
                  <a:schemeClr val="tx1"/>
                </a:solidFill>
              </a:rPr>
              <a:t> Fog </a:t>
            </a:r>
            <a:r>
              <a:rPr lang="de-DE" dirty="0" err="1">
                <a:solidFill>
                  <a:schemeClr val="tx1"/>
                </a:solidFill>
              </a:rPr>
              <a:t>node</a:t>
            </a:r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AF9461F-CD73-984A-88AC-AAD218A69212}"/>
              </a:ext>
            </a:extLst>
          </p:cNvPr>
          <p:cNvCxnSpPr>
            <a:cxnSpLocks/>
            <a:stCxn id="6" idx="3"/>
          </p:cNvCxnSpPr>
          <p:nvPr/>
        </p:nvCxnSpPr>
        <p:spPr bwMode="auto">
          <a:xfrm>
            <a:off x="2682644" y="3265781"/>
            <a:ext cx="968789" cy="426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02589C2-C729-5D40-BD3F-CBE495BC2D16}"/>
              </a:ext>
            </a:extLst>
          </p:cNvPr>
          <p:cNvCxnSpPr>
            <a:cxnSpLocks/>
            <a:stCxn id="7" idx="3"/>
          </p:cNvCxnSpPr>
          <p:nvPr/>
        </p:nvCxnSpPr>
        <p:spPr bwMode="auto">
          <a:xfrm>
            <a:off x="2682643" y="4948210"/>
            <a:ext cx="968790" cy="529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83AC520-998E-CB46-BCF8-35AB27088762}"/>
              </a:ext>
            </a:extLst>
          </p:cNvPr>
          <p:cNvCxnSpPr/>
          <p:nvPr/>
        </p:nvCxnSpPr>
        <p:spPr bwMode="auto">
          <a:xfrm flipV="1">
            <a:off x="5274342" y="4025473"/>
            <a:ext cx="1078589" cy="274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3D540C9-A3BA-7345-B9F3-BE6C8A24A188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 bwMode="auto">
          <a:xfrm flipH="1">
            <a:off x="1816289" y="3780620"/>
            <a:ext cx="1" cy="65975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96218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077FEA-FEEB-144E-84EB-6FCC5F6AE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QoS</a:t>
            </a:r>
            <a:r>
              <a:rPr lang="de-DE" dirty="0"/>
              <a:t>-Aware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r>
              <a:rPr lang="de-DE" dirty="0"/>
              <a:t> - </a:t>
            </a:r>
            <a:r>
              <a:rPr lang="de-DE" dirty="0" err="1"/>
              <a:t>Examp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44E1C9-81EE-8249-ADE4-E2A5037034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A415F1-F438-FC4C-84C9-A456B384B2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2</a:t>
            </a:fld>
            <a:endParaRPr lang="de-DE" altLang="de-DE"/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5F91C91-ADB7-204C-9046-7EA2317364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639121"/>
              </p:ext>
            </p:extLst>
          </p:nvPr>
        </p:nvGraphicFramePr>
        <p:xfrm>
          <a:off x="539749" y="2200195"/>
          <a:ext cx="4967277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3430">
                  <a:extLst>
                    <a:ext uri="{9D8B030D-6E8A-4147-A177-3AD203B41FA5}">
                      <a16:colId xmlns:a16="http://schemas.microsoft.com/office/drawing/2014/main" val="1103291747"/>
                    </a:ext>
                  </a:extLst>
                </a:gridCol>
                <a:gridCol w="1753173">
                  <a:extLst>
                    <a:ext uri="{9D8B030D-6E8A-4147-A177-3AD203B41FA5}">
                      <a16:colId xmlns:a16="http://schemas.microsoft.com/office/drawing/2014/main" val="471584447"/>
                    </a:ext>
                  </a:extLst>
                </a:gridCol>
                <a:gridCol w="1780674">
                  <a:extLst>
                    <a:ext uri="{9D8B030D-6E8A-4147-A177-3AD203B41FA5}">
                      <a16:colId xmlns:a16="http://schemas.microsoft.com/office/drawing/2014/main" val="30120191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pp 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pp 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082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5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.0 G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362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1 G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641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MI (CP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208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966680"/>
                  </a:ext>
                </a:extLst>
              </a:tr>
            </a:tbl>
          </a:graphicData>
        </a:graphic>
      </p:graphicFrame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411CD10B-EEDC-0E49-B3AE-4B2167CD76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702741"/>
              </p:ext>
            </p:extLst>
          </p:nvPr>
        </p:nvGraphicFramePr>
        <p:xfrm>
          <a:off x="532128" y="4155916"/>
          <a:ext cx="6721195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1051">
                  <a:extLst>
                    <a:ext uri="{9D8B030D-6E8A-4147-A177-3AD203B41FA5}">
                      <a16:colId xmlns:a16="http://schemas.microsoft.com/office/drawing/2014/main" val="1103291747"/>
                    </a:ext>
                  </a:extLst>
                </a:gridCol>
                <a:gridCol w="1753173">
                  <a:extLst>
                    <a:ext uri="{9D8B030D-6E8A-4147-A177-3AD203B41FA5}">
                      <a16:colId xmlns:a16="http://schemas.microsoft.com/office/drawing/2014/main" val="471584447"/>
                    </a:ext>
                  </a:extLst>
                </a:gridCol>
                <a:gridCol w="1780674">
                  <a:extLst>
                    <a:ext uri="{9D8B030D-6E8A-4147-A177-3AD203B41FA5}">
                      <a16:colId xmlns:a16="http://schemas.microsoft.com/office/drawing/2014/main" val="3012019185"/>
                    </a:ext>
                  </a:extLst>
                </a:gridCol>
                <a:gridCol w="1746297">
                  <a:extLst>
                    <a:ext uri="{9D8B030D-6E8A-4147-A177-3AD203B41FA5}">
                      <a16:colId xmlns:a16="http://schemas.microsoft.com/office/drawing/2014/main" val="28212328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082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6 G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362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6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0 G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641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MIPS (CP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208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966680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11B0209D-9345-AB4D-9408-B513B1AF2FB1}"/>
              </a:ext>
            </a:extLst>
          </p:cNvPr>
          <p:cNvSpPr/>
          <p:nvPr/>
        </p:nvSpPr>
        <p:spPr bwMode="auto">
          <a:xfrm>
            <a:off x="1982303" y="2584450"/>
            <a:ext cx="1726097" cy="14699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8176251-CA72-B642-8542-07BA86CDAEFB}"/>
              </a:ext>
            </a:extLst>
          </p:cNvPr>
          <p:cNvSpPr/>
          <p:nvPr/>
        </p:nvSpPr>
        <p:spPr bwMode="auto">
          <a:xfrm>
            <a:off x="3671098" y="2593102"/>
            <a:ext cx="1835927" cy="14699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A6BF0D-9273-AD4D-A31F-48E45BDA0F45}"/>
              </a:ext>
            </a:extLst>
          </p:cNvPr>
          <p:cNvSpPr/>
          <p:nvPr/>
        </p:nvSpPr>
        <p:spPr bwMode="auto">
          <a:xfrm>
            <a:off x="1982302" y="4540171"/>
            <a:ext cx="1726097" cy="14699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90D76EF-F278-B041-AA5D-B387EA9BA4DA}"/>
              </a:ext>
            </a:extLst>
          </p:cNvPr>
          <p:cNvSpPr/>
          <p:nvPr/>
        </p:nvSpPr>
        <p:spPr bwMode="auto">
          <a:xfrm>
            <a:off x="5507026" y="4540171"/>
            <a:ext cx="1746297" cy="14699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C269055-13BA-6244-B84A-B93ED6824942}"/>
              </a:ext>
            </a:extLst>
          </p:cNvPr>
          <p:cNvSpPr/>
          <p:nvPr/>
        </p:nvSpPr>
        <p:spPr bwMode="auto">
          <a:xfrm>
            <a:off x="3708400" y="4540171"/>
            <a:ext cx="1798626" cy="14699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751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3" grpId="0" animBg="1"/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B5BF18-8D55-6E46-B961-050E1EC3D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y</a:t>
            </a:r>
            <a:r>
              <a:rPr lang="de-DE" dirty="0"/>
              <a:t> </a:t>
            </a:r>
            <a:r>
              <a:rPr lang="de-DE" dirty="0" err="1"/>
              <a:t>Candidates</a:t>
            </a:r>
            <a:endParaRPr lang="de-DE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D756F810-60C1-3B47-8AAA-EB78DE2BBCE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915234" y="2381250"/>
          <a:ext cx="3310355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277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57540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402538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563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87860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876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83043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65395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7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0960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8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72302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9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680663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53C40D-3FE1-454F-9A22-B3FA74742B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78F040-014F-B347-BDD6-77E4797BE8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3</a:t>
            </a:fld>
            <a:endParaRPr lang="de-DE" alt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0F32176-D51E-D343-8BE2-80A59E16440D}"/>
              </a:ext>
            </a:extLst>
          </p:cNvPr>
          <p:cNvSpPr/>
          <p:nvPr/>
        </p:nvSpPr>
        <p:spPr bwMode="auto">
          <a:xfrm>
            <a:off x="3366603" y="2765453"/>
            <a:ext cx="2958962" cy="3498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2D30568-7B9B-F04E-A580-26AE6D6A3F74}"/>
              </a:ext>
            </a:extLst>
          </p:cNvPr>
          <p:cNvSpPr/>
          <p:nvPr/>
        </p:nvSpPr>
        <p:spPr bwMode="auto">
          <a:xfrm>
            <a:off x="3366603" y="3493163"/>
            <a:ext cx="2958962" cy="3498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609C996-4178-0744-B7EA-D5A7658233D8}"/>
              </a:ext>
            </a:extLst>
          </p:cNvPr>
          <p:cNvSpPr/>
          <p:nvPr/>
        </p:nvSpPr>
        <p:spPr bwMode="auto">
          <a:xfrm>
            <a:off x="3366603" y="3115310"/>
            <a:ext cx="2958962" cy="3778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A78AC8-E59E-164A-B00C-3D53B7932DD5}"/>
              </a:ext>
            </a:extLst>
          </p:cNvPr>
          <p:cNvSpPr/>
          <p:nvPr/>
        </p:nvSpPr>
        <p:spPr bwMode="auto">
          <a:xfrm>
            <a:off x="3366603" y="3843020"/>
            <a:ext cx="2958962" cy="113223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4CC7083-E95C-6A48-B26A-7E51E960695F}"/>
              </a:ext>
            </a:extLst>
          </p:cNvPr>
          <p:cNvSpPr/>
          <p:nvPr/>
        </p:nvSpPr>
        <p:spPr bwMode="auto">
          <a:xfrm>
            <a:off x="3366603" y="4975253"/>
            <a:ext cx="2958962" cy="113223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817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9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A3775F-36BC-094A-BBD2-A732752ED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ardware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DCA9EC-C984-C042-876F-F32FDAE9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380431-04DF-864F-89E6-194611C8CF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4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09D6E7A4-97BC-764B-BF0A-823D7B4411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4154791"/>
              </p:ext>
            </p:extLst>
          </p:nvPr>
        </p:nvGraphicFramePr>
        <p:xfrm>
          <a:off x="5676900" y="1740115"/>
          <a:ext cx="331035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277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57540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402538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i="1" dirty="0"/>
                        <a:t>Fog </a:t>
                      </a:r>
                      <a:r>
                        <a:rPr lang="de-DE" b="1" i="1" dirty="0" err="1"/>
                        <a:t>Node</a:t>
                      </a:r>
                      <a:r>
                        <a:rPr lang="de-DE" b="1" i="1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9E74D0E-8ECB-AA48-A71A-CCDC66D915F4}"/>
              </a:ext>
            </a:extLst>
          </p:cNvPr>
          <p:cNvSpPr txBox="1"/>
          <p:nvPr/>
        </p:nvSpPr>
        <p:spPr>
          <a:xfrm>
            <a:off x="539750" y="2284413"/>
            <a:ext cx="8061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de-DE" sz="1400" dirty="0"/>
              <a:t>Tr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ploy</a:t>
            </a:r>
            <a:r>
              <a:rPr lang="de-DE" sz="1400" dirty="0"/>
              <a:t> </a:t>
            </a:r>
            <a:r>
              <a:rPr lang="de-DE" sz="1400" b="1" i="1" dirty="0"/>
              <a:t>Module A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i="1" dirty="0"/>
              <a:t>Fog </a:t>
            </a:r>
            <a:r>
              <a:rPr lang="de-DE" sz="1400" b="1" i="1" dirty="0" err="1"/>
              <a:t>Node</a:t>
            </a:r>
            <a:r>
              <a:rPr lang="de-DE" sz="1400" b="1" i="1" dirty="0"/>
              <a:t> 1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EFD1813-44CC-ED4C-9CA1-4F7F8B1A28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618093"/>
              </p:ext>
            </p:extLst>
          </p:nvPr>
        </p:nvGraphicFramePr>
        <p:xfrm>
          <a:off x="947530" y="2741552"/>
          <a:ext cx="5493027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592">
                  <a:extLst>
                    <a:ext uri="{9D8B030D-6E8A-4147-A177-3AD203B41FA5}">
                      <a16:colId xmlns:a16="http://schemas.microsoft.com/office/drawing/2014/main" val="3172166611"/>
                    </a:ext>
                  </a:extLst>
                </a:gridCol>
                <a:gridCol w="1636643">
                  <a:extLst>
                    <a:ext uri="{9D8B030D-6E8A-4147-A177-3AD203B41FA5}">
                      <a16:colId xmlns:a16="http://schemas.microsoft.com/office/drawing/2014/main" val="318641414"/>
                    </a:ext>
                  </a:extLst>
                </a:gridCol>
                <a:gridCol w="1623392">
                  <a:extLst>
                    <a:ext uri="{9D8B030D-6E8A-4147-A177-3AD203B41FA5}">
                      <a16:colId xmlns:a16="http://schemas.microsoft.com/office/drawing/2014/main" val="417384109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381975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Requir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by</a:t>
                      </a:r>
                      <a:r>
                        <a:rPr lang="de-DE" dirty="0"/>
                        <a:t> 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Available</a:t>
                      </a:r>
                      <a:r>
                        <a:rPr lang="de-DE" dirty="0"/>
                        <a:t> on 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ali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24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5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498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9718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-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ym typeface="Wingdings" pitchFamily="2" charset="2"/>
                        </a:rPr>
                        <a:t>❌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676954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89335F70-A6C3-1B46-BA1D-1E63B15C5593}"/>
              </a:ext>
            </a:extLst>
          </p:cNvPr>
          <p:cNvSpPr/>
          <p:nvPr/>
        </p:nvSpPr>
        <p:spPr bwMode="auto">
          <a:xfrm>
            <a:off x="2270900" y="3366052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A14554D-E985-5C48-A9F5-BACD59933D35}"/>
              </a:ext>
            </a:extLst>
          </p:cNvPr>
          <p:cNvSpPr/>
          <p:nvPr/>
        </p:nvSpPr>
        <p:spPr bwMode="auto">
          <a:xfrm>
            <a:off x="3902765" y="3366052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8398A82-3ED3-E440-93E6-9183A95429E3}"/>
              </a:ext>
            </a:extLst>
          </p:cNvPr>
          <p:cNvSpPr/>
          <p:nvPr/>
        </p:nvSpPr>
        <p:spPr bwMode="auto">
          <a:xfrm>
            <a:off x="5534630" y="3377987"/>
            <a:ext cx="90592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E5CEA67-D3B5-924E-960C-A9A76C7730E5}"/>
              </a:ext>
            </a:extLst>
          </p:cNvPr>
          <p:cNvSpPr/>
          <p:nvPr/>
        </p:nvSpPr>
        <p:spPr bwMode="auto">
          <a:xfrm>
            <a:off x="2270900" y="3743739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E6F4C3E-288B-BF4D-8E66-CCBE35F971D9}"/>
              </a:ext>
            </a:extLst>
          </p:cNvPr>
          <p:cNvSpPr/>
          <p:nvPr/>
        </p:nvSpPr>
        <p:spPr bwMode="auto">
          <a:xfrm>
            <a:off x="3902765" y="3743739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0843A6F-D24E-C248-9295-1299BA72F937}"/>
              </a:ext>
            </a:extLst>
          </p:cNvPr>
          <p:cNvSpPr/>
          <p:nvPr/>
        </p:nvSpPr>
        <p:spPr bwMode="auto">
          <a:xfrm>
            <a:off x="5534630" y="3755674"/>
            <a:ext cx="90592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B0D2103-0DB1-104B-9BD1-DD793239E6F3}"/>
              </a:ext>
            </a:extLst>
          </p:cNvPr>
          <p:cNvSpPr/>
          <p:nvPr/>
        </p:nvSpPr>
        <p:spPr bwMode="auto">
          <a:xfrm>
            <a:off x="2270900" y="4120487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9FEF582-7640-6247-81C0-E7E2413739CC}"/>
              </a:ext>
            </a:extLst>
          </p:cNvPr>
          <p:cNvSpPr/>
          <p:nvPr/>
        </p:nvSpPr>
        <p:spPr bwMode="auto">
          <a:xfrm>
            <a:off x="3902765" y="4120487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6362AE0-2C26-6243-8D49-5F14C01736EE}"/>
              </a:ext>
            </a:extLst>
          </p:cNvPr>
          <p:cNvSpPr/>
          <p:nvPr/>
        </p:nvSpPr>
        <p:spPr bwMode="auto">
          <a:xfrm>
            <a:off x="5534630" y="4132422"/>
            <a:ext cx="90592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04B961E-1F5E-6547-80BD-8E8F4422F461}"/>
              </a:ext>
            </a:extLst>
          </p:cNvPr>
          <p:cNvSpPr txBox="1"/>
          <p:nvPr/>
        </p:nvSpPr>
        <p:spPr>
          <a:xfrm>
            <a:off x="846816" y="4606462"/>
            <a:ext cx="72764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>
                <a:solidFill>
                  <a:srgbClr val="FF0000"/>
                </a:solidFill>
              </a:rPr>
              <a:t>Not </a:t>
            </a:r>
            <a:r>
              <a:rPr lang="de-DE" sz="1800" dirty="0" err="1">
                <a:solidFill>
                  <a:srgbClr val="FF0000"/>
                </a:solidFill>
              </a:rPr>
              <a:t>able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to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deploy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b="1" i="1" dirty="0">
                <a:solidFill>
                  <a:srgbClr val="FF0000"/>
                </a:solidFill>
              </a:rPr>
              <a:t>Module A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to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b="1" i="1" dirty="0">
                <a:solidFill>
                  <a:srgbClr val="FF0000"/>
                </a:solidFill>
              </a:rPr>
              <a:t>Fog </a:t>
            </a:r>
            <a:r>
              <a:rPr lang="de-DE" sz="1800" b="1" i="1" dirty="0" err="1">
                <a:solidFill>
                  <a:srgbClr val="FF0000"/>
                </a:solidFill>
              </a:rPr>
              <a:t>Node</a:t>
            </a:r>
            <a:r>
              <a:rPr lang="de-DE" sz="1800" b="1" i="1" dirty="0">
                <a:solidFill>
                  <a:srgbClr val="FF0000"/>
                </a:solidFill>
              </a:rPr>
              <a:t> 1</a:t>
            </a:r>
          </a:p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 err="1">
                <a:solidFill>
                  <a:srgbClr val="FF0000"/>
                </a:solidFill>
              </a:rPr>
              <a:t>Deployment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candidates</a:t>
            </a:r>
            <a:r>
              <a:rPr lang="de-DE" sz="1800" dirty="0">
                <a:solidFill>
                  <a:srgbClr val="FF0000"/>
                </a:solidFill>
              </a:rPr>
              <a:t> 1., 2. </a:t>
            </a:r>
            <a:r>
              <a:rPr lang="de-DE" sz="1800" dirty="0" err="1">
                <a:solidFill>
                  <a:srgbClr val="FF0000"/>
                </a:solidFill>
              </a:rPr>
              <a:t>and</a:t>
            </a:r>
            <a:r>
              <a:rPr lang="de-DE" sz="1800" dirty="0">
                <a:solidFill>
                  <a:srgbClr val="FF0000"/>
                </a:solidFill>
              </a:rPr>
              <a:t> 3. </a:t>
            </a:r>
            <a:r>
              <a:rPr lang="de-DE" sz="1800" dirty="0" err="1">
                <a:solidFill>
                  <a:srgbClr val="FF0000"/>
                </a:solidFill>
              </a:rPr>
              <a:t>are</a:t>
            </a:r>
            <a:r>
              <a:rPr lang="de-DE" sz="1800" dirty="0">
                <a:solidFill>
                  <a:srgbClr val="FF0000"/>
                </a:solidFill>
              </a:rPr>
              <a:t> not valid</a:t>
            </a:r>
          </a:p>
        </p:txBody>
      </p:sp>
      <p:graphicFrame>
        <p:nvGraphicFramePr>
          <p:cNvPr id="20" name="Inhaltsplatzhalter 5">
            <a:extLst>
              <a:ext uri="{FF2B5EF4-FFF2-40B4-BE49-F238E27FC236}">
                <a16:creationId xmlns:a16="http://schemas.microsoft.com/office/drawing/2014/main" id="{339110F3-CE65-AB44-9729-120A4064BDE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2039029"/>
              </p:ext>
            </p:extLst>
          </p:nvPr>
        </p:nvGraphicFramePr>
        <p:xfrm>
          <a:off x="3188830" y="2965608"/>
          <a:ext cx="3310355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277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57540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402538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FF000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FF000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FF0000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FF000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FF000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FF0000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563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FF000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FF000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FF0000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87860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9712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0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5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0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5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0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5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0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5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0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A3775F-36BC-094A-BBD2-A732752ED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ardware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DCA9EC-C984-C042-876F-F32FDAE9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380431-04DF-864F-89E6-194611C8CF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5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09D6E7A4-97BC-764B-BF0A-823D7B4411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3231065"/>
              </p:ext>
            </p:extLst>
          </p:nvPr>
        </p:nvGraphicFramePr>
        <p:xfrm>
          <a:off x="5534630" y="1740115"/>
          <a:ext cx="345262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629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32475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550521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i="1" dirty="0"/>
                        <a:t>Fog </a:t>
                      </a:r>
                      <a:r>
                        <a:rPr lang="de-DE" b="1" i="1" dirty="0" err="1"/>
                        <a:t>Node</a:t>
                      </a:r>
                      <a:r>
                        <a:rPr lang="de-DE" b="1" i="1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9E74D0E-8ECB-AA48-A71A-CCDC66D915F4}"/>
              </a:ext>
            </a:extLst>
          </p:cNvPr>
          <p:cNvSpPr txBox="1"/>
          <p:nvPr/>
        </p:nvSpPr>
        <p:spPr>
          <a:xfrm>
            <a:off x="539750" y="2284413"/>
            <a:ext cx="8061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de-DE" sz="1400" dirty="0"/>
              <a:t>Tr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ploy</a:t>
            </a:r>
            <a:r>
              <a:rPr lang="de-DE" sz="1400" dirty="0"/>
              <a:t> </a:t>
            </a:r>
            <a:r>
              <a:rPr lang="de-DE" sz="1400" b="1" i="1" dirty="0"/>
              <a:t>Module A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i="1" dirty="0"/>
              <a:t>Fog </a:t>
            </a:r>
            <a:r>
              <a:rPr lang="de-DE" sz="1400" b="1" i="1" dirty="0" err="1"/>
              <a:t>Node</a:t>
            </a:r>
            <a:r>
              <a:rPr lang="de-DE" sz="1400" b="1" i="1" dirty="0"/>
              <a:t> 2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EFD1813-44CC-ED4C-9CA1-4F7F8B1A28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4181590"/>
              </p:ext>
            </p:extLst>
          </p:nvPr>
        </p:nvGraphicFramePr>
        <p:xfrm>
          <a:off x="947530" y="2723026"/>
          <a:ext cx="5493027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592">
                  <a:extLst>
                    <a:ext uri="{9D8B030D-6E8A-4147-A177-3AD203B41FA5}">
                      <a16:colId xmlns:a16="http://schemas.microsoft.com/office/drawing/2014/main" val="3172166611"/>
                    </a:ext>
                  </a:extLst>
                </a:gridCol>
                <a:gridCol w="1636643">
                  <a:extLst>
                    <a:ext uri="{9D8B030D-6E8A-4147-A177-3AD203B41FA5}">
                      <a16:colId xmlns:a16="http://schemas.microsoft.com/office/drawing/2014/main" val="318641414"/>
                    </a:ext>
                  </a:extLst>
                </a:gridCol>
                <a:gridCol w="1623392">
                  <a:extLst>
                    <a:ext uri="{9D8B030D-6E8A-4147-A177-3AD203B41FA5}">
                      <a16:colId xmlns:a16="http://schemas.microsoft.com/office/drawing/2014/main" val="417384109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381975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Requir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by</a:t>
                      </a:r>
                      <a:r>
                        <a:rPr lang="de-DE" dirty="0"/>
                        <a:t> 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Available</a:t>
                      </a:r>
                      <a:r>
                        <a:rPr lang="de-DE" dirty="0"/>
                        <a:t> on 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ali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24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5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498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6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9718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E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676954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89335F70-A6C3-1B46-BA1D-1E63B15C5593}"/>
              </a:ext>
            </a:extLst>
          </p:cNvPr>
          <p:cNvSpPr/>
          <p:nvPr/>
        </p:nvSpPr>
        <p:spPr bwMode="auto">
          <a:xfrm>
            <a:off x="2270900" y="3366052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A14554D-E985-5C48-A9F5-BACD59933D35}"/>
              </a:ext>
            </a:extLst>
          </p:cNvPr>
          <p:cNvSpPr/>
          <p:nvPr/>
        </p:nvSpPr>
        <p:spPr bwMode="auto">
          <a:xfrm>
            <a:off x="3902765" y="3366052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8398A82-3ED3-E440-93E6-9183A95429E3}"/>
              </a:ext>
            </a:extLst>
          </p:cNvPr>
          <p:cNvSpPr/>
          <p:nvPr/>
        </p:nvSpPr>
        <p:spPr bwMode="auto">
          <a:xfrm>
            <a:off x="5534630" y="3377987"/>
            <a:ext cx="90592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E5CEA67-D3B5-924E-960C-A9A76C7730E5}"/>
              </a:ext>
            </a:extLst>
          </p:cNvPr>
          <p:cNvSpPr/>
          <p:nvPr/>
        </p:nvSpPr>
        <p:spPr bwMode="auto">
          <a:xfrm>
            <a:off x="2270900" y="3743739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E6F4C3E-288B-BF4D-8E66-CCBE35F971D9}"/>
              </a:ext>
            </a:extLst>
          </p:cNvPr>
          <p:cNvSpPr/>
          <p:nvPr/>
        </p:nvSpPr>
        <p:spPr bwMode="auto">
          <a:xfrm>
            <a:off x="3902765" y="3743739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0843A6F-D24E-C248-9295-1299BA72F937}"/>
              </a:ext>
            </a:extLst>
          </p:cNvPr>
          <p:cNvSpPr/>
          <p:nvPr/>
        </p:nvSpPr>
        <p:spPr bwMode="auto">
          <a:xfrm>
            <a:off x="5534630" y="3755674"/>
            <a:ext cx="90592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B0D2103-0DB1-104B-9BD1-DD793239E6F3}"/>
              </a:ext>
            </a:extLst>
          </p:cNvPr>
          <p:cNvSpPr/>
          <p:nvPr/>
        </p:nvSpPr>
        <p:spPr bwMode="auto">
          <a:xfrm>
            <a:off x="2270900" y="4120487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9FEF582-7640-6247-81C0-E7E2413739CC}"/>
              </a:ext>
            </a:extLst>
          </p:cNvPr>
          <p:cNvSpPr/>
          <p:nvPr/>
        </p:nvSpPr>
        <p:spPr bwMode="auto">
          <a:xfrm>
            <a:off x="3902765" y="4120487"/>
            <a:ext cx="1631865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6362AE0-2C26-6243-8D49-5F14C01736EE}"/>
              </a:ext>
            </a:extLst>
          </p:cNvPr>
          <p:cNvSpPr/>
          <p:nvPr/>
        </p:nvSpPr>
        <p:spPr bwMode="auto">
          <a:xfrm>
            <a:off x="5534630" y="4132422"/>
            <a:ext cx="90592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04B961E-1F5E-6547-80BD-8E8F4422F461}"/>
              </a:ext>
            </a:extLst>
          </p:cNvPr>
          <p:cNvSpPr txBox="1"/>
          <p:nvPr/>
        </p:nvSpPr>
        <p:spPr>
          <a:xfrm>
            <a:off x="846816" y="4606462"/>
            <a:ext cx="727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 err="1">
                <a:solidFill>
                  <a:srgbClr val="00B050"/>
                </a:solidFill>
              </a:rPr>
              <a:t>Able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to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deploy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b="1" i="1" dirty="0">
                <a:solidFill>
                  <a:srgbClr val="00B050"/>
                </a:solidFill>
              </a:rPr>
              <a:t>Module A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to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b="1" i="1" dirty="0">
                <a:solidFill>
                  <a:srgbClr val="00B050"/>
                </a:solidFill>
              </a:rPr>
              <a:t>Fog </a:t>
            </a:r>
            <a:r>
              <a:rPr lang="de-DE" sz="1800" b="1" i="1" dirty="0" err="1">
                <a:solidFill>
                  <a:srgbClr val="00B050"/>
                </a:solidFill>
              </a:rPr>
              <a:t>Node</a:t>
            </a:r>
            <a:r>
              <a:rPr lang="de-DE" sz="1800" b="1" i="1" dirty="0">
                <a:solidFill>
                  <a:srgbClr val="00B050"/>
                </a:solidFill>
              </a:rPr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2183805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3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4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9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4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9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4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9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4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9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4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A3775F-36BC-094A-BBD2-A732752ED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ardware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DCA9EC-C984-C042-876F-F32FDAE9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380431-04DF-864F-89E6-194611C8CF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6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09D6E7A4-97BC-764B-BF0A-823D7B4411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7580041"/>
              </p:ext>
            </p:extLst>
          </p:nvPr>
        </p:nvGraphicFramePr>
        <p:xfrm>
          <a:off x="5534630" y="1740115"/>
          <a:ext cx="345262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629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32475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550521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i="0" dirty="0"/>
                        <a:t>Fog </a:t>
                      </a:r>
                      <a:r>
                        <a:rPr lang="de-DE" b="0" i="0" dirty="0" err="1"/>
                        <a:t>Node</a:t>
                      </a:r>
                      <a:r>
                        <a:rPr lang="de-DE" b="0" i="0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i="1" dirty="0"/>
                        <a:t>Fog </a:t>
                      </a:r>
                      <a:r>
                        <a:rPr lang="de-DE" b="1" i="1" dirty="0" err="1"/>
                        <a:t>Node</a:t>
                      </a:r>
                      <a:r>
                        <a:rPr lang="de-DE" b="1" i="1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9E74D0E-8ECB-AA48-A71A-CCDC66D915F4}"/>
              </a:ext>
            </a:extLst>
          </p:cNvPr>
          <p:cNvSpPr txBox="1"/>
          <p:nvPr/>
        </p:nvSpPr>
        <p:spPr>
          <a:xfrm>
            <a:off x="539750" y="2284413"/>
            <a:ext cx="80613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de-DE" sz="1400" dirty="0"/>
              <a:t>Tr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ploy</a:t>
            </a:r>
            <a:r>
              <a:rPr lang="de-DE" sz="1400" dirty="0"/>
              <a:t> </a:t>
            </a:r>
            <a:r>
              <a:rPr lang="de-DE" sz="1400" b="1" i="1" dirty="0"/>
              <a:t>Module A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i="1" dirty="0"/>
              <a:t>Fog </a:t>
            </a:r>
            <a:r>
              <a:rPr lang="de-DE" sz="1400" b="1" i="1" dirty="0" err="1"/>
              <a:t>Node</a:t>
            </a:r>
            <a:r>
              <a:rPr lang="de-DE" sz="1400" b="1" i="1" dirty="0"/>
              <a:t> 2 </a:t>
            </a:r>
            <a:r>
              <a:rPr lang="de-DE" sz="1400" dirty="0">
                <a:sym typeface="Wingdings" pitchFamily="2" charset="2"/>
              </a:rPr>
              <a:t>✅</a:t>
            </a:r>
            <a:endParaRPr lang="de-DE" sz="1400" dirty="0"/>
          </a:p>
          <a:p>
            <a:pPr marL="228600" indent="-228600" algn="l">
              <a:buFont typeface="+mj-lt"/>
              <a:buAutoNum type="arabicPeriod"/>
            </a:pPr>
            <a:r>
              <a:rPr lang="de-DE" sz="1400" dirty="0"/>
              <a:t>Tr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ploy</a:t>
            </a:r>
            <a:r>
              <a:rPr lang="de-DE" sz="1400" dirty="0"/>
              <a:t> </a:t>
            </a:r>
            <a:r>
              <a:rPr lang="de-DE" sz="1400" b="1" i="1" dirty="0"/>
              <a:t>Module B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i="1" dirty="0"/>
              <a:t>Fog </a:t>
            </a:r>
            <a:r>
              <a:rPr lang="de-DE" sz="1400" b="1" i="1" dirty="0" err="1"/>
              <a:t>Node</a:t>
            </a:r>
            <a:r>
              <a:rPr lang="de-DE" sz="1400" b="1" i="1" dirty="0"/>
              <a:t> 1</a:t>
            </a:r>
            <a:endParaRPr lang="de-DE" sz="1400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EFD1813-44CC-ED4C-9CA1-4F7F8B1A28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1548380"/>
              </p:ext>
            </p:extLst>
          </p:nvPr>
        </p:nvGraphicFramePr>
        <p:xfrm>
          <a:off x="1126937" y="2987429"/>
          <a:ext cx="5493027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592">
                  <a:extLst>
                    <a:ext uri="{9D8B030D-6E8A-4147-A177-3AD203B41FA5}">
                      <a16:colId xmlns:a16="http://schemas.microsoft.com/office/drawing/2014/main" val="3172166611"/>
                    </a:ext>
                  </a:extLst>
                </a:gridCol>
                <a:gridCol w="1636643">
                  <a:extLst>
                    <a:ext uri="{9D8B030D-6E8A-4147-A177-3AD203B41FA5}">
                      <a16:colId xmlns:a16="http://schemas.microsoft.com/office/drawing/2014/main" val="318641414"/>
                    </a:ext>
                  </a:extLst>
                </a:gridCol>
                <a:gridCol w="1623392">
                  <a:extLst>
                    <a:ext uri="{9D8B030D-6E8A-4147-A177-3AD203B41FA5}">
                      <a16:colId xmlns:a16="http://schemas.microsoft.com/office/drawing/2014/main" val="417384109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381975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Requir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by</a:t>
                      </a:r>
                      <a:r>
                        <a:rPr lang="de-DE" dirty="0"/>
                        <a:t> Modul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Available</a:t>
                      </a:r>
                      <a:r>
                        <a:rPr lang="de-DE" dirty="0"/>
                        <a:t> on 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ali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24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498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1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9718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ym typeface="Wingdings" pitchFamily="2" charset="2"/>
                        </a:rPr>
                        <a:t>✅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676954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89335F70-A6C3-1B46-BA1D-1E63B15C5593}"/>
              </a:ext>
            </a:extLst>
          </p:cNvPr>
          <p:cNvSpPr/>
          <p:nvPr/>
        </p:nvSpPr>
        <p:spPr bwMode="auto">
          <a:xfrm>
            <a:off x="2450306" y="3618520"/>
            <a:ext cx="416965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47BDF0A-19EB-C246-9063-25B86345F014}"/>
              </a:ext>
            </a:extLst>
          </p:cNvPr>
          <p:cNvSpPr/>
          <p:nvPr/>
        </p:nvSpPr>
        <p:spPr bwMode="auto">
          <a:xfrm>
            <a:off x="2450306" y="3995760"/>
            <a:ext cx="416965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F9936B3-A084-1E4B-8ED7-9712C360BEA3}"/>
              </a:ext>
            </a:extLst>
          </p:cNvPr>
          <p:cNvSpPr/>
          <p:nvPr/>
        </p:nvSpPr>
        <p:spPr bwMode="auto">
          <a:xfrm>
            <a:off x="2450306" y="4373000"/>
            <a:ext cx="4169657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5F8BAFF-FFB2-1640-A074-36B007C821B9}"/>
              </a:ext>
            </a:extLst>
          </p:cNvPr>
          <p:cNvSpPr txBox="1"/>
          <p:nvPr/>
        </p:nvSpPr>
        <p:spPr>
          <a:xfrm>
            <a:off x="896905" y="5007458"/>
            <a:ext cx="72764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 err="1">
                <a:solidFill>
                  <a:srgbClr val="00B050"/>
                </a:solidFill>
              </a:rPr>
              <a:t>Able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to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deploy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b="1" i="1" dirty="0">
                <a:solidFill>
                  <a:srgbClr val="00B050"/>
                </a:solidFill>
              </a:rPr>
              <a:t>Module B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to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b="1" i="1" dirty="0">
                <a:solidFill>
                  <a:srgbClr val="00B050"/>
                </a:solidFill>
              </a:rPr>
              <a:t>Fog </a:t>
            </a:r>
            <a:r>
              <a:rPr lang="de-DE" sz="1800" b="1" i="1" dirty="0" err="1">
                <a:solidFill>
                  <a:srgbClr val="00B050"/>
                </a:solidFill>
              </a:rPr>
              <a:t>Node</a:t>
            </a:r>
            <a:r>
              <a:rPr lang="de-DE" sz="1800" b="1" i="1" dirty="0">
                <a:solidFill>
                  <a:srgbClr val="00B050"/>
                </a:solidFill>
              </a:rPr>
              <a:t> 1</a:t>
            </a:r>
          </a:p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 err="1">
                <a:solidFill>
                  <a:srgbClr val="00B050"/>
                </a:solidFill>
              </a:rPr>
              <a:t>Deployment</a:t>
            </a:r>
            <a:r>
              <a:rPr lang="de-DE" sz="1800" dirty="0">
                <a:solidFill>
                  <a:srgbClr val="00B050"/>
                </a:solidFill>
              </a:rPr>
              <a:t> </a:t>
            </a:r>
            <a:r>
              <a:rPr lang="de-DE" sz="1800" dirty="0" err="1">
                <a:solidFill>
                  <a:srgbClr val="00B050"/>
                </a:solidFill>
              </a:rPr>
              <a:t>Candidate</a:t>
            </a:r>
            <a:r>
              <a:rPr lang="de-DE" sz="1800" dirty="0">
                <a:solidFill>
                  <a:srgbClr val="00B050"/>
                </a:solidFill>
              </a:rPr>
              <a:t> #4 </a:t>
            </a:r>
            <a:r>
              <a:rPr lang="de-DE" sz="1800" dirty="0" err="1">
                <a:solidFill>
                  <a:srgbClr val="00B050"/>
                </a:solidFill>
              </a:rPr>
              <a:t>is</a:t>
            </a:r>
            <a:r>
              <a:rPr lang="de-DE" sz="1800" dirty="0">
                <a:solidFill>
                  <a:srgbClr val="00B050"/>
                </a:solidFill>
              </a:rPr>
              <a:t> valid </a:t>
            </a:r>
            <a:r>
              <a:rPr lang="de-DE" sz="1400" dirty="0">
                <a:sym typeface="Wingdings" pitchFamily="2" charset="2"/>
              </a:rPr>
              <a:t>✅</a:t>
            </a:r>
            <a:endParaRPr lang="de-DE" sz="1400" dirty="0">
              <a:solidFill>
                <a:srgbClr val="00B05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007BC6F-D574-7D4E-82E6-ED3FD4B03066}"/>
              </a:ext>
            </a:extLst>
          </p:cNvPr>
          <p:cNvSpPr txBox="1"/>
          <p:nvPr/>
        </p:nvSpPr>
        <p:spPr>
          <a:xfrm>
            <a:off x="5403475" y="5063343"/>
            <a:ext cx="378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ym typeface="Wingdings" pitchFamily="2" charset="2"/>
              </a:rPr>
              <a:t>✅</a:t>
            </a:r>
            <a:endParaRPr lang="de-DE" sz="14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5697AB0-9566-4644-AC82-C4B50B280938}"/>
              </a:ext>
            </a:extLst>
          </p:cNvPr>
          <p:cNvSpPr txBox="1"/>
          <p:nvPr/>
        </p:nvSpPr>
        <p:spPr>
          <a:xfrm>
            <a:off x="6933468" y="3200400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8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6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1" dur="2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6" dur="2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1.85185E-6 L -0.16666 -0.37176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3" y="-185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9" grpId="0" animBg="1"/>
      <p:bldP spid="20" grpId="0" animBg="1"/>
      <p:bldP spid="3" grpId="0"/>
      <p:bldP spid="3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A3775F-36BC-094A-BBD2-A732752ED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ardware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DCA9EC-C984-C042-876F-F32FDAE9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380431-04DF-864F-89E6-194611C8CF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7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09D6E7A4-97BC-764B-BF0A-823D7B4411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74732"/>
              </p:ext>
            </p:extLst>
          </p:nvPr>
        </p:nvGraphicFramePr>
        <p:xfrm>
          <a:off x="5534630" y="1740115"/>
          <a:ext cx="345262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629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32475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550521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i="0" dirty="0"/>
                        <a:t>Fog </a:t>
                      </a:r>
                      <a:r>
                        <a:rPr lang="de-DE" b="0" i="0" dirty="0" err="1"/>
                        <a:t>Node</a:t>
                      </a:r>
                      <a:r>
                        <a:rPr lang="de-DE" b="0" i="0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i="1" dirty="0"/>
                        <a:t>Fog </a:t>
                      </a:r>
                      <a:r>
                        <a:rPr lang="de-DE" b="1" i="1" dirty="0" err="1"/>
                        <a:t>Node</a:t>
                      </a:r>
                      <a:r>
                        <a:rPr lang="de-DE" b="1" i="1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9E74D0E-8ECB-AA48-A71A-CCDC66D915F4}"/>
              </a:ext>
            </a:extLst>
          </p:cNvPr>
          <p:cNvSpPr txBox="1"/>
          <p:nvPr/>
        </p:nvSpPr>
        <p:spPr>
          <a:xfrm>
            <a:off x="539750" y="2284413"/>
            <a:ext cx="80613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de-DE" sz="1400" dirty="0"/>
              <a:t>Tr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ploy</a:t>
            </a:r>
            <a:r>
              <a:rPr lang="de-DE" sz="1400" dirty="0"/>
              <a:t> </a:t>
            </a:r>
            <a:r>
              <a:rPr lang="de-DE" sz="1400" b="1" i="1" dirty="0"/>
              <a:t>Module A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i="1" dirty="0"/>
              <a:t>Fog </a:t>
            </a:r>
            <a:r>
              <a:rPr lang="de-DE" sz="1400" b="1" i="1" dirty="0" err="1"/>
              <a:t>Node</a:t>
            </a:r>
            <a:r>
              <a:rPr lang="de-DE" sz="1400" b="1" i="1" dirty="0"/>
              <a:t> 2 </a:t>
            </a:r>
            <a:r>
              <a:rPr lang="de-DE" sz="1400" dirty="0">
                <a:sym typeface="Wingdings" pitchFamily="2" charset="2"/>
              </a:rPr>
              <a:t>✅</a:t>
            </a:r>
            <a:endParaRPr lang="de-DE" sz="1400" dirty="0"/>
          </a:p>
          <a:p>
            <a:pPr marL="228600" indent="-228600" algn="l">
              <a:buFont typeface="+mj-lt"/>
              <a:buAutoNum type="arabicPeriod"/>
            </a:pPr>
            <a:r>
              <a:rPr lang="de-DE" sz="1400" dirty="0"/>
              <a:t>Tr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ploy</a:t>
            </a:r>
            <a:r>
              <a:rPr lang="de-DE" sz="1400" dirty="0"/>
              <a:t> </a:t>
            </a:r>
            <a:r>
              <a:rPr lang="de-DE" sz="1400" b="1" i="1" dirty="0"/>
              <a:t>Module B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i="1" dirty="0"/>
              <a:t>Fog </a:t>
            </a:r>
            <a:r>
              <a:rPr lang="de-DE" sz="1400" b="1" i="1" dirty="0" err="1"/>
              <a:t>Node</a:t>
            </a:r>
            <a:r>
              <a:rPr lang="de-DE" sz="1400" b="1" i="1" dirty="0"/>
              <a:t> 2</a:t>
            </a:r>
            <a:endParaRPr lang="de-DE" sz="1400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EFD1813-44CC-ED4C-9CA1-4F7F8B1A28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969886"/>
              </p:ext>
            </p:extLst>
          </p:nvPr>
        </p:nvGraphicFramePr>
        <p:xfrm>
          <a:off x="1126937" y="2987429"/>
          <a:ext cx="6830658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9688">
                  <a:extLst>
                    <a:ext uri="{9D8B030D-6E8A-4147-A177-3AD203B41FA5}">
                      <a16:colId xmlns:a16="http://schemas.microsoft.com/office/drawing/2014/main" val="3172166611"/>
                    </a:ext>
                  </a:extLst>
                </a:gridCol>
                <a:gridCol w="1764864">
                  <a:extLst>
                    <a:ext uri="{9D8B030D-6E8A-4147-A177-3AD203B41FA5}">
                      <a16:colId xmlns:a16="http://schemas.microsoft.com/office/drawing/2014/main" val="318641414"/>
                    </a:ext>
                  </a:extLst>
                </a:gridCol>
                <a:gridCol w="2289036">
                  <a:extLst>
                    <a:ext uri="{9D8B030D-6E8A-4147-A177-3AD203B41FA5}">
                      <a16:colId xmlns:a16="http://schemas.microsoft.com/office/drawing/2014/main" val="4173841094"/>
                    </a:ext>
                  </a:extLst>
                </a:gridCol>
                <a:gridCol w="1137070">
                  <a:extLst>
                    <a:ext uri="{9D8B030D-6E8A-4147-A177-3AD203B41FA5}">
                      <a16:colId xmlns:a16="http://schemas.microsoft.com/office/drawing/2014/main" val="3381975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Requir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by</a:t>
                      </a:r>
                      <a:r>
                        <a:rPr lang="de-DE" dirty="0"/>
                        <a:t> Modul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Available</a:t>
                      </a:r>
                      <a:r>
                        <a:rPr lang="de-DE" dirty="0"/>
                        <a:t> on Fog </a:t>
                      </a:r>
                      <a:r>
                        <a:rPr lang="de-DE" dirty="0" err="1"/>
                        <a:t>Node</a:t>
                      </a:r>
                      <a:r>
                        <a:rPr lang="de-DE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ali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24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.0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.0 – 0.5 = 0.5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ym typeface="Wingdings" pitchFamily="2" charset="2"/>
                        </a:rPr>
                        <a:t>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498563"/>
                  </a:ext>
                </a:extLst>
              </a:tr>
            </a:tbl>
          </a:graphicData>
        </a:graphic>
      </p:graphicFrame>
      <p:sp>
        <p:nvSpPr>
          <p:cNvPr id="22" name="Textfeld 21">
            <a:extLst>
              <a:ext uri="{FF2B5EF4-FFF2-40B4-BE49-F238E27FC236}">
                <a16:creationId xmlns:a16="http://schemas.microsoft.com/office/drawing/2014/main" id="{85697AB0-9566-4644-AC82-C4B50B280938}"/>
              </a:ext>
            </a:extLst>
          </p:cNvPr>
          <p:cNvSpPr txBox="1"/>
          <p:nvPr/>
        </p:nvSpPr>
        <p:spPr>
          <a:xfrm>
            <a:off x="6933468" y="3200400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052BCA5-CE3F-D34C-9374-1607DB8581EE}"/>
              </a:ext>
            </a:extLst>
          </p:cNvPr>
          <p:cNvSpPr txBox="1"/>
          <p:nvPr/>
        </p:nvSpPr>
        <p:spPr>
          <a:xfrm>
            <a:off x="754218" y="4211320"/>
            <a:ext cx="72764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>
                <a:solidFill>
                  <a:srgbClr val="FF0000"/>
                </a:solidFill>
              </a:rPr>
              <a:t>Not </a:t>
            </a:r>
            <a:r>
              <a:rPr lang="de-DE" sz="1800" dirty="0" err="1">
                <a:solidFill>
                  <a:srgbClr val="FF0000"/>
                </a:solidFill>
              </a:rPr>
              <a:t>able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to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deploy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b="1" i="1" dirty="0">
                <a:solidFill>
                  <a:srgbClr val="FF0000"/>
                </a:solidFill>
              </a:rPr>
              <a:t>Module B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to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b="1" i="1" dirty="0">
                <a:solidFill>
                  <a:srgbClr val="FF0000"/>
                </a:solidFill>
              </a:rPr>
              <a:t>Fog </a:t>
            </a:r>
            <a:r>
              <a:rPr lang="de-DE" sz="1800" b="1" i="1" dirty="0" err="1">
                <a:solidFill>
                  <a:srgbClr val="FF0000"/>
                </a:solidFill>
              </a:rPr>
              <a:t>Node</a:t>
            </a:r>
            <a:r>
              <a:rPr lang="de-DE" sz="1800" b="1" i="1" dirty="0">
                <a:solidFill>
                  <a:srgbClr val="FF0000"/>
                </a:solidFill>
              </a:rPr>
              <a:t> 2</a:t>
            </a:r>
          </a:p>
          <a:p>
            <a:pPr marL="285750" indent="-285750" algn="l">
              <a:buFont typeface="Wingdings" pitchFamily="2" charset="2"/>
              <a:buChar char="à"/>
            </a:pPr>
            <a:r>
              <a:rPr lang="de-DE" sz="1800" dirty="0" err="1">
                <a:solidFill>
                  <a:srgbClr val="FF0000"/>
                </a:solidFill>
              </a:rPr>
              <a:t>Deployment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  <a:r>
              <a:rPr lang="de-DE" sz="1800" dirty="0" err="1">
                <a:solidFill>
                  <a:srgbClr val="FF0000"/>
                </a:solidFill>
              </a:rPr>
              <a:t>candidate</a:t>
            </a:r>
            <a:r>
              <a:rPr lang="de-DE" sz="1800" dirty="0">
                <a:solidFill>
                  <a:srgbClr val="FF0000"/>
                </a:solidFill>
              </a:rPr>
              <a:t> #5 </a:t>
            </a:r>
            <a:r>
              <a:rPr lang="de-DE" sz="1800" dirty="0" err="1">
                <a:solidFill>
                  <a:srgbClr val="FF0000"/>
                </a:solidFill>
              </a:rPr>
              <a:t>is</a:t>
            </a:r>
            <a:r>
              <a:rPr lang="de-DE" sz="1800" dirty="0">
                <a:solidFill>
                  <a:srgbClr val="FF0000"/>
                </a:solidFill>
              </a:rPr>
              <a:t> not vali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394ADFC-4FF7-E044-A2C3-04DEEADDAB29}"/>
              </a:ext>
            </a:extLst>
          </p:cNvPr>
          <p:cNvSpPr/>
          <p:nvPr/>
        </p:nvSpPr>
        <p:spPr bwMode="auto">
          <a:xfrm>
            <a:off x="2760581" y="3613249"/>
            <a:ext cx="1770908" cy="3776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2F490E-E707-E544-8087-44C757B6BD1E}"/>
              </a:ext>
            </a:extLst>
          </p:cNvPr>
          <p:cNvSpPr/>
          <p:nvPr/>
        </p:nvSpPr>
        <p:spPr bwMode="auto">
          <a:xfrm>
            <a:off x="4531488" y="3605836"/>
            <a:ext cx="2291787" cy="39992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0ED936D-D3AC-C849-AB77-FB6AC0B32515}"/>
              </a:ext>
            </a:extLst>
          </p:cNvPr>
          <p:cNvSpPr/>
          <p:nvPr/>
        </p:nvSpPr>
        <p:spPr bwMode="auto">
          <a:xfrm>
            <a:off x="6823276" y="3598423"/>
            <a:ext cx="1134320" cy="39992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8D92677-6EDF-F24E-A408-9DB1757B55E9}"/>
              </a:ext>
            </a:extLst>
          </p:cNvPr>
          <p:cNvSpPr txBox="1"/>
          <p:nvPr/>
        </p:nvSpPr>
        <p:spPr>
          <a:xfrm>
            <a:off x="3885941" y="2522057"/>
            <a:ext cx="3642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❌</a:t>
            </a:r>
          </a:p>
        </p:txBody>
      </p:sp>
    </p:spTree>
    <p:extLst>
      <p:ext uri="{BB962C8B-B14F-4D97-AF65-F5344CB8AC3E}">
        <p14:creationId xmlns:p14="http://schemas.microsoft.com/office/powerpoint/2010/main" val="1378402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1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6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" presetClass="entr" presetSubtype="2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FDE993-6C33-DA45-9212-75FE37202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alid Hardware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03959-CB82-534B-A824-9EB6F0A372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214FD6-C066-6344-83D3-10DE18F99C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8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3037F8-D225-104F-B940-39BA654D5F0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16812397"/>
              </p:ext>
            </p:extLst>
          </p:nvPr>
        </p:nvGraphicFramePr>
        <p:xfrm>
          <a:off x="2915234" y="2381250"/>
          <a:ext cx="3416118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4663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504107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447348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842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563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87860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00B05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00B05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876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i="1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83043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00B05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rgbClr val="00B050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rgbClr val="00B050"/>
                          </a:solidFill>
                        </a:rPr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65395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i="1" dirty="0"/>
                        <a:t>7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0960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i="1" dirty="0"/>
                        <a:t>8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72302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i="1" dirty="0"/>
                        <a:t>9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i="1" dirty="0"/>
                        <a:t>Fog </a:t>
                      </a:r>
                      <a:r>
                        <a:rPr lang="de-DE" i="1" dirty="0" err="1"/>
                        <a:t>Node</a:t>
                      </a:r>
                      <a:r>
                        <a:rPr lang="de-DE" i="1" dirty="0"/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680663"/>
                  </a:ext>
                </a:extLst>
              </a:tr>
            </a:tbl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2D0091D-0D00-3348-849E-3A49DF59E408}"/>
              </a:ext>
            </a:extLst>
          </p:cNvPr>
          <p:cNvSpPr/>
          <p:nvPr/>
        </p:nvSpPr>
        <p:spPr bwMode="auto">
          <a:xfrm>
            <a:off x="2915234" y="2741339"/>
            <a:ext cx="3416118" cy="1132233"/>
          </a:xfrm>
          <a:prstGeom prst="rect">
            <a:avLst/>
          </a:pr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3242385-2EAE-5342-BFBB-1084466E5D36}"/>
              </a:ext>
            </a:extLst>
          </p:cNvPr>
          <p:cNvSpPr/>
          <p:nvPr/>
        </p:nvSpPr>
        <p:spPr bwMode="auto">
          <a:xfrm>
            <a:off x="2915234" y="4957417"/>
            <a:ext cx="3416118" cy="1132233"/>
          </a:xfrm>
          <a:prstGeom prst="rect">
            <a:avLst/>
          </a:pr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8FCF9FE-8E30-644F-A5F9-380EB6D4D3B1}"/>
              </a:ext>
            </a:extLst>
          </p:cNvPr>
          <p:cNvSpPr/>
          <p:nvPr/>
        </p:nvSpPr>
        <p:spPr bwMode="auto">
          <a:xfrm>
            <a:off x="2915234" y="4231665"/>
            <a:ext cx="3416118" cy="365664"/>
          </a:xfrm>
          <a:prstGeom prst="rect">
            <a:avLst/>
          </a:pr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25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DD6D96-8C84-9F4B-9D1D-605F59F6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Validating</a:t>
            </a:r>
            <a:r>
              <a:rPr lang="de-DE" dirty="0"/>
              <a:t> </a:t>
            </a:r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EB06B7C-AB56-2247-9A9B-6FF0D1C0F9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A1480B-69AB-294B-81B4-E7EABB2CF8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19</a:t>
            </a:fld>
            <a:endParaRPr lang="de-DE" alt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08A686-33CA-DB4D-B517-207BD31E6243}"/>
              </a:ext>
            </a:extLst>
          </p:cNvPr>
          <p:cNvSpPr/>
          <p:nvPr/>
        </p:nvSpPr>
        <p:spPr bwMode="auto">
          <a:xfrm>
            <a:off x="1996633" y="2761527"/>
            <a:ext cx="1417899" cy="6713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dule A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C170825-8088-9947-8127-A0989D39F4A4}"/>
              </a:ext>
            </a:extLst>
          </p:cNvPr>
          <p:cNvSpPr/>
          <p:nvPr/>
        </p:nvSpPr>
        <p:spPr bwMode="auto">
          <a:xfrm>
            <a:off x="5660563" y="2757669"/>
            <a:ext cx="1417899" cy="6713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dule B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841A50C-BD71-1647-927C-BECD43514B52}"/>
              </a:ext>
            </a:extLst>
          </p:cNvPr>
          <p:cNvCxnSpPr>
            <a:stCxn id="7" idx="3"/>
            <a:endCxn id="8" idx="1"/>
          </p:cNvCxnSpPr>
          <p:nvPr/>
        </p:nvCxnSpPr>
        <p:spPr bwMode="auto">
          <a:xfrm flipV="1">
            <a:off x="3414532" y="3093335"/>
            <a:ext cx="2246031" cy="385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6CAEC8E5-BDBF-A342-994C-E96CE17BD91B}"/>
              </a:ext>
            </a:extLst>
          </p:cNvPr>
          <p:cNvSpPr txBox="1"/>
          <p:nvPr/>
        </p:nvSpPr>
        <p:spPr>
          <a:xfrm>
            <a:off x="4034845" y="2666798"/>
            <a:ext cx="10054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Message M</a:t>
            </a:r>
          </a:p>
          <a:p>
            <a:r>
              <a:rPr lang="de-DE" i="1" dirty="0">
                <a:solidFill>
                  <a:schemeClr val="tx2"/>
                </a:solidFill>
              </a:rPr>
              <a:t>(</a:t>
            </a:r>
            <a:r>
              <a:rPr lang="de-DE" i="1" dirty="0" err="1">
                <a:solidFill>
                  <a:schemeClr val="tx2"/>
                </a:solidFill>
              </a:rPr>
              <a:t>size</a:t>
            </a:r>
            <a:r>
              <a:rPr lang="de-DE" i="1" dirty="0">
                <a:solidFill>
                  <a:schemeClr val="tx2"/>
                </a:solidFill>
              </a:rPr>
              <a:t>: 2 MB</a:t>
            </a:r>
            <a:r>
              <a:rPr lang="de-DE" dirty="0">
                <a:solidFill>
                  <a:schemeClr val="tx2"/>
                </a:solidFill>
              </a:rPr>
              <a:t>)</a:t>
            </a:r>
            <a:endParaRPr lang="de-DE" i="1" dirty="0">
              <a:solidFill>
                <a:schemeClr val="tx2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32AA75-74A3-8442-949F-7059A2DB1AE0}"/>
              </a:ext>
            </a:extLst>
          </p:cNvPr>
          <p:cNvSpPr txBox="1"/>
          <p:nvPr/>
        </p:nvSpPr>
        <p:spPr>
          <a:xfrm>
            <a:off x="2113042" y="3743885"/>
            <a:ext cx="11913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Execution</a:t>
            </a:r>
            <a:r>
              <a:rPr lang="de-DE" dirty="0"/>
              <a:t> tim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47FE685-0F04-2143-9C9E-4410C9CBB7A6}"/>
              </a:ext>
            </a:extLst>
          </p:cNvPr>
          <p:cNvSpPr txBox="1"/>
          <p:nvPr/>
        </p:nvSpPr>
        <p:spPr>
          <a:xfrm>
            <a:off x="5767863" y="3748217"/>
            <a:ext cx="11913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Execution</a:t>
            </a:r>
            <a:r>
              <a:rPr lang="de-DE" dirty="0"/>
              <a:t> tim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113653-8CE1-AF44-B29A-FC911CE4058F}"/>
              </a:ext>
            </a:extLst>
          </p:cNvPr>
          <p:cNvSpPr txBox="1"/>
          <p:nvPr/>
        </p:nvSpPr>
        <p:spPr>
          <a:xfrm>
            <a:off x="3943424" y="3742904"/>
            <a:ext cx="10846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00000"/>
                </a:solidFill>
              </a:rPr>
              <a:t>Transfer time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3DFABB2-38EA-B945-BB45-EB9881FA5C83}"/>
              </a:ext>
            </a:extLst>
          </p:cNvPr>
          <p:cNvCxnSpPr/>
          <p:nvPr/>
        </p:nvCxnSpPr>
        <p:spPr bwMode="auto">
          <a:xfrm>
            <a:off x="2005907" y="4055828"/>
            <a:ext cx="5081829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11A2711-4E10-2741-85B7-484DB6033748}"/>
              </a:ext>
            </a:extLst>
          </p:cNvPr>
          <p:cNvCxnSpPr/>
          <p:nvPr/>
        </p:nvCxnSpPr>
        <p:spPr bwMode="auto">
          <a:xfrm flipV="1">
            <a:off x="3426107" y="3814755"/>
            <a:ext cx="0" cy="41029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28BE14EF-71DC-E24B-B170-1ABC0A70978F}"/>
              </a:ext>
            </a:extLst>
          </p:cNvPr>
          <p:cNvCxnSpPr/>
          <p:nvPr/>
        </p:nvCxnSpPr>
        <p:spPr bwMode="auto">
          <a:xfrm flipV="1">
            <a:off x="5639343" y="3850680"/>
            <a:ext cx="0" cy="41029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Geschweifte Klammer links 19">
            <a:extLst>
              <a:ext uri="{FF2B5EF4-FFF2-40B4-BE49-F238E27FC236}">
                <a16:creationId xmlns:a16="http://schemas.microsoft.com/office/drawing/2014/main" id="{67A35931-0DC0-D443-BE2A-DA339EAC9FFF}"/>
              </a:ext>
            </a:extLst>
          </p:cNvPr>
          <p:cNvSpPr/>
          <p:nvPr/>
        </p:nvSpPr>
        <p:spPr bwMode="auto">
          <a:xfrm rot="16200000">
            <a:off x="4412958" y="2127149"/>
            <a:ext cx="276999" cy="5091100"/>
          </a:xfrm>
          <a:prstGeom prst="leftBrace">
            <a:avLst>
              <a:gd name="adj1" fmla="val 8333"/>
              <a:gd name="adj2" fmla="val 50000"/>
            </a:avLst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69D79A6-621F-6E42-8C4C-9A7A45196810}"/>
              </a:ext>
            </a:extLst>
          </p:cNvPr>
          <p:cNvSpPr txBox="1"/>
          <p:nvPr/>
        </p:nvSpPr>
        <p:spPr>
          <a:xfrm>
            <a:off x="3800880" y="4846107"/>
            <a:ext cx="14918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/>
              <a:t>Total </a:t>
            </a:r>
            <a:r>
              <a:rPr lang="de-DE" sz="1600" b="1" dirty="0" err="1"/>
              <a:t>Latency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1275440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/>
      <p:bldP spid="12" grpId="0"/>
      <p:bldP spid="13" grpId="0"/>
      <p:bldP spid="14" grpId="0"/>
      <p:bldP spid="20" grpId="0" animBg="1"/>
      <p:bldP spid="21" grpId="0" build="allAtOnce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0153B-5E9A-3F4D-AACD-57E244F55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72192-5C3F-AC49-9CF7-FCC345374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de-DE" dirty="0" err="1"/>
              <a:t>Introduction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/>
              <a:t>Fog </a:t>
            </a:r>
            <a:r>
              <a:rPr lang="de-DE" dirty="0" err="1"/>
              <a:t>Architecture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 err="1"/>
              <a:t>Node</a:t>
            </a:r>
            <a:r>
              <a:rPr lang="de-DE" dirty="0"/>
              <a:t>-RED</a:t>
            </a:r>
          </a:p>
          <a:p>
            <a:pPr>
              <a:buFont typeface="+mj-lt"/>
              <a:buAutoNum type="arabicPeriod"/>
            </a:pPr>
            <a:r>
              <a:rPr lang="de-DE" dirty="0"/>
              <a:t>Task Distribution</a:t>
            </a:r>
          </a:p>
          <a:p>
            <a:pPr>
              <a:buFont typeface="+mj-lt"/>
              <a:buAutoNum type="arabicPeriod"/>
            </a:pPr>
            <a:r>
              <a:rPr lang="de-DE" dirty="0" err="1"/>
              <a:t>QoS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 err="1"/>
              <a:t>Orchestrator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valuation</a:t>
            </a:r>
          </a:p>
          <a:p>
            <a:pPr>
              <a:buFont typeface="+mj-lt"/>
              <a:buAutoNum type="arabicPeriod"/>
            </a:pPr>
            <a:r>
              <a:rPr lang="de-DE" dirty="0"/>
              <a:t>Future Wor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0F3E33-BEA9-5B41-9EAC-0AB1D95E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CC3A18-8132-C847-A7F9-7C6CB5083A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28270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mph" presetSubtype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6" dur="indefinit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5" presetClass="emph" presetSubtype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0" dur="indefinit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5" presetClass="emph" presetSubtype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4" dur="indefinit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5" presetClass="emph" presetSubtype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8" dur="indefinite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5" presetClass="emph" presetSubtype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22" dur="indefinite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5" presetClass="emph" presetSubtype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26" dur="indefinite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1EDBE8-82CD-4F41-806B-D3BF343DF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087C46BA-3245-5045-B7B6-85FF5003AB3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39750" y="2349500"/>
                <a:ext cx="8374136" cy="3641725"/>
              </a:xfrm>
            </p:spPr>
            <p:txBody>
              <a:bodyPr/>
              <a:lstStyle/>
              <a:p>
                <a:pPr>
                  <a:buFont typeface="+mj-lt"/>
                  <a:buAutoNum type="arabicPeriod"/>
                </a:pPr>
                <a:r>
                  <a:rPr lang="de-DE" dirty="0"/>
                  <a:t>Calculate </a:t>
                </a:r>
                <a:r>
                  <a:rPr lang="de-DE" dirty="0" err="1"/>
                  <a:t>execution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b="1" i="1" dirty="0"/>
                  <a:t>Module A </a:t>
                </a:r>
                <a:r>
                  <a:rPr lang="de-DE" dirty="0"/>
                  <a:t>on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2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𝑒𝑥𝑒𝑐𝑢𝑡𝑖𝑜𝑛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𝑖𝑚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𝑒𝑞𝑢𝑖𝑟𝑒𝑑𝑀𝑖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𝑝𝑢𝑀𝑖𝑝𝑠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∗1000= </m:t>
                    </m:r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0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∗1000=1000 [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>
                  <a:buFont typeface="+mj-lt"/>
                  <a:buAutoNum type="arabicPeriod"/>
                </a:pPr>
                <a:r>
                  <a:rPr lang="de-DE" dirty="0" err="1"/>
                  <a:t>Calculate</a:t>
                </a:r>
                <a:r>
                  <a:rPr lang="de-DE" dirty="0"/>
                  <a:t> </a:t>
                </a:r>
                <a:r>
                  <a:rPr lang="de-DE" dirty="0" err="1"/>
                  <a:t>transfter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b="1" i="1" dirty="0"/>
                  <a:t>Message M </a:t>
                </a:r>
                <a:r>
                  <a:rPr lang="de-DE" dirty="0" err="1"/>
                  <a:t>from</a:t>
                </a:r>
                <a:r>
                  <a:rPr lang="de-DE" dirty="0"/>
                  <a:t>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2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1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𝑡𝑟𝑎𝑛𝑠𝑓𝑒𝑟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𝑖𝑚𝑒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𝑅𝑇𝑇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𝑒𝑠𝑠𝑎𝑔𝑒𝑆𝑖𝑧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[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𝑡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]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𝑖𝑛𝑘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𝑝𝑒𝑒𝑑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[</m:t>
                        </m:r>
                        <m:f>
                          <m:f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𝑖𝑡</m:t>
                            </m:r>
                          </m:num>
                          <m:den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𝑠</m:t>
                            </m:r>
                          </m:den>
                        </m:f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]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 …=200 [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>
                  <a:buFont typeface="+mj-lt"/>
                  <a:buAutoNum type="arabicPeriod"/>
                </a:pPr>
                <a:r>
                  <a:rPr lang="de-DE" dirty="0" err="1"/>
                  <a:t>Calculate</a:t>
                </a:r>
                <a:r>
                  <a:rPr lang="de-DE" dirty="0"/>
                  <a:t> </a:t>
                </a:r>
                <a:r>
                  <a:rPr lang="de-DE" dirty="0" err="1"/>
                  <a:t>execution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b="1" i="1" dirty="0"/>
                  <a:t>Module B</a:t>
                </a:r>
                <a:r>
                  <a:rPr lang="de-DE" dirty="0"/>
                  <a:t> on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1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𝑒𝑥𝑒𝑐𝑢𝑡𝑖𝑜𝑛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𝑖𝑚𝑒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0,00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000</m:t>
                        </m:r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∗1000=1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000 [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>
                  <a:buFont typeface="+mj-lt"/>
                  <a:buAutoNum type="arabicPeriod"/>
                </a:pPr>
                <a:r>
                  <a:rPr lang="de-DE" dirty="0" err="1"/>
                  <a:t>Calculate</a:t>
                </a:r>
                <a:r>
                  <a:rPr lang="de-DE" dirty="0"/>
                  <a:t> total </a:t>
                </a:r>
                <a:r>
                  <a:rPr lang="de-DE" dirty="0" err="1"/>
                  <a:t>latency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𝑡𝑜𝑡𝑎𝑙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𝑙𝑎𝑡𝑒𝑛𝑐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𝑥𝑒𝑐𝑢𝑡𝑖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𝑚𝑒</m:t>
                        </m:r>
                      </m:e>
                    </m:nary>
                    <m:r>
                      <a:rPr lang="de-DE" b="0" i="1" smtClean="0">
                        <a:latin typeface="Cambria Math" panose="02040503050406030204" pitchFamily="18" charset="0"/>
                      </a:rPr>
                      <m:t>+ </m:t>
                    </m:r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𝑎𝑛𝑠𝑓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𝑚𝑒</m:t>
                        </m:r>
                      </m:e>
                    </m:nary>
                    <m:r>
                      <a:rPr lang="de-DE" b="0" i="1" smtClean="0">
                        <a:latin typeface="Cambria Math" panose="02040503050406030204" pitchFamily="18" charset="0"/>
                      </a:rPr>
                      <m:t>=1000+10000+200=11200 [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 marL="539750" lvl="1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087C46BA-3245-5045-B7B6-85FF5003AB3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39750" y="2349500"/>
                <a:ext cx="8374136" cy="3641725"/>
              </a:xfrm>
              <a:blipFill>
                <a:blip r:embed="rId2"/>
                <a:stretch>
                  <a:fillRect l="-1212" t="-347" r="-30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DC17E9-AE1E-1B40-8888-C11587C864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EB79D6-7214-0640-91B2-FF7165CEC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0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B6A8708-DCC5-8944-950E-429F53CAB0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2150415"/>
              </p:ext>
            </p:extLst>
          </p:nvPr>
        </p:nvGraphicFramePr>
        <p:xfrm>
          <a:off x="5995185" y="1499877"/>
          <a:ext cx="2605890" cy="839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4663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057593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083634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289528">
                <a:tc>
                  <a:txBody>
                    <a:bodyPr/>
                    <a:lstStyle/>
                    <a:p>
                      <a:r>
                        <a:rPr lang="de-DE" sz="12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268902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876213"/>
                  </a:ext>
                </a:extLst>
              </a:tr>
              <a:tr h="275188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6539539"/>
                  </a:ext>
                </a:extLst>
              </a:tr>
            </a:tbl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FAADBF6-8D45-7845-BAB4-D371DBB59DFD}"/>
              </a:ext>
            </a:extLst>
          </p:cNvPr>
          <p:cNvSpPr/>
          <p:nvPr/>
        </p:nvSpPr>
        <p:spPr bwMode="auto">
          <a:xfrm>
            <a:off x="5995185" y="2073799"/>
            <a:ext cx="2605890" cy="265114"/>
          </a:xfrm>
          <a:prstGeom prst="rect">
            <a:avLst/>
          </a:pr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415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1EDBE8-82CD-4F41-806B-D3BF343DF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087C46BA-3245-5045-B7B6-85FF5003AB3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39750" y="2349500"/>
                <a:ext cx="8374136" cy="3641725"/>
              </a:xfrm>
            </p:spPr>
            <p:txBody>
              <a:bodyPr/>
              <a:lstStyle/>
              <a:p>
                <a:pPr>
                  <a:buFont typeface="+mj-lt"/>
                  <a:buAutoNum type="arabicPeriod"/>
                </a:pPr>
                <a:r>
                  <a:rPr lang="de-DE" dirty="0"/>
                  <a:t>Calculate </a:t>
                </a:r>
                <a:r>
                  <a:rPr lang="de-DE" dirty="0" err="1"/>
                  <a:t>execution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b="1" i="1" dirty="0"/>
                  <a:t>Module A </a:t>
                </a:r>
                <a:r>
                  <a:rPr lang="de-DE" dirty="0"/>
                  <a:t>on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2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𝑒𝑥𝑒𝑐𝑢𝑡𝑖𝑜𝑛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𝑖𝑚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1000 [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>
                  <a:buFont typeface="+mj-lt"/>
                  <a:buAutoNum type="arabicPeriod"/>
                </a:pPr>
                <a:r>
                  <a:rPr lang="de-DE" dirty="0" err="1"/>
                  <a:t>Calculate</a:t>
                </a:r>
                <a:r>
                  <a:rPr lang="de-DE" dirty="0"/>
                  <a:t> </a:t>
                </a:r>
                <a:r>
                  <a:rPr lang="de-DE" dirty="0" err="1"/>
                  <a:t>transfter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b="1" i="1" dirty="0"/>
                  <a:t>Message M </a:t>
                </a:r>
                <a:r>
                  <a:rPr lang="de-DE" dirty="0" err="1"/>
                  <a:t>from</a:t>
                </a:r>
                <a:r>
                  <a:rPr lang="de-DE" dirty="0"/>
                  <a:t>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2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3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𝑡𝑟𝑎𝑛𝑠𝑓𝑒𝑟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𝑖𝑚𝑒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…=2000 [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>
                  <a:buFont typeface="+mj-lt"/>
                  <a:buAutoNum type="arabicPeriod"/>
                </a:pPr>
                <a:r>
                  <a:rPr lang="de-DE" dirty="0" err="1"/>
                  <a:t>Calculate</a:t>
                </a:r>
                <a:r>
                  <a:rPr lang="de-DE" dirty="0"/>
                  <a:t> </a:t>
                </a:r>
                <a:r>
                  <a:rPr lang="de-DE" dirty="0" err="1"/>
                  <a:t>execution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b="1" i="1" dirty="0"/>
                  <a:t>Module B</a:t>
                </a:r>
                <a:r>
                  <a:rPr lang="de-DE" dirty="0"/>
                  <a:t> on </a:t>
                </a:r>
                <a:r>
                  <a:rPr lang="de-DE" b="1" i="1" dirty="0"/>
                  <a:t>Fog </a:t>
                </a:r>
                <a:r>
                  <a:rPr lang="de-DE" b="1" i="1" dirty="0" err="1"/>
                  <a:t>Node</a:t>
                </a:r>
                <a:r>
                  <a:rPr lang="de-DE" b="1" i="1" dirty="0"/>
                  <a:t> 3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𝑒𝑥𝑒𝑐𝑢𝑡𝑖𝑜𝑛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𝑖𝑚𝑒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0.00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.000</m:t>
                        </m:r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∗1000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5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00 [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>
                  <a:buFont typeface="+mj-lt"/>
                  <a:buAutoNum type="arabicPeriod"/>
                </a:pPr>
                <a:r>
                  <a:rPr lang="de-DE" dirty="0" err="1"/>
                  <a:t>Calculate</a:t>
                </a:r>
                <a:r>
                  <a:rPr lang="de-DE" dirty="0"/>
                  <a:t> total </a:t>
                </a:r>
                <a:r>
                  <a:rPr lang="de-DE" dirty="0" err="1"/>
                  <a:t>latency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𝑡𝑜𝑡𝑎𝑙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𝑙𝑎𝑡𝑒𝑛𝑐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1000+500+2000=3500 [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b="1" i="1" dirty="0"/>
              </a:p>
              <a:p>
                <a:pPr marL="539750" lvl="1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087C46BA-3245-5045-B7B6-85FF5003AB3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39750" y="2349500"/>
                <a:ext cx="8374136" cy="3641725"/>
              </a:xfrm>
              <a:blipFill>
                <a:blip r:embed="rId2"/>
                <a:stretch>
                  <a:fillRect l="-1212" t="-3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DC17E9-AE1E-1B40-8888-C11587C864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EB79D6-7214-0640-91B2-FF7165CEC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1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B6A8708-DCC5-8944-950E-429F53CAB05C}"/>
              </a:ext>
            </a:extLst>
          </p:cNvPr>
          <p:cNvGraphicFramePr>
            <a:graphicFrameLocks/>
          </p:cNvGraphicFramePr>
          <p:nvPr/>
        </p:nvGraphicFramePr>
        <p:xfrm>
          <a:off x="5995185" y="1499877"/>
          <a:ext cx="2605890" cy="839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4663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057593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083634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</a:tblGrid>
              <a:tr h="289528">
                <a:tc>
                  <a:txBody>
                    <a:bodyPr/>
                    <a:lstStyle/>
                    <a:p>
                      <a:r>
                        <a:rPr lang="de-DE" sz="12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odule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268902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876213"/>
                  </a:ext>
                </a:extLst>
              </a:tr>
              <a:tr h="275188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6539539"/>
                  </a:ext>
                </a:extLst>
              </a:tr>
            </a:tbl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FAADBF6-8D45-7845-BAB4-D371DBB59DFD}"/>
              </a:ext>
            </a:extLst>
          </p:cNvPr>
          <p:cNvSpPr/>
          <p:nvPr/>
        </p:nvSpPr>
        <p:spPr bwMode="auto">
          <a:xfrm>
            <a:off x="5995185" y="1805006"/>
            <a:ext cx="2605890" cy="259965"/>
          </a:xfrm>
          <a:prstGeom prst="rect">
            <a:avLst/>
          </a:pr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887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300"/>
                            </p:stCondLst>
                            <p:childTnLst>
                              <p:par>
                                <p:cTn id="16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100"/>
                            </p:stCondLst>
                            <p:childTnLst>
                              <p:par>
                                <p:cTn id="20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900"/>
                            </p:stCondLst>
                            <p:childTnLst>
                              <p:par>
                                <p:cTn id="24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700"/>
                            </p:stCondLst>
                            <p:childTnLst>
                              <p:par>
                                <p:cTn id="28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300"/>
                            </p:stCondLst>
                            <p:childTnLst>
                              <p:par>
                                <p:cTn id="36" presetID="3" presetClass="entr" presetSubtype="1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5E1D0D-FBC2-014D-B866-230113CEB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Optimal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y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4D52AE-FF44-5847-AD9C-E37B6FBF50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1009B0-59D8-2042-B3E0-C253008BC9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2</a:t>
            </a:fld>
            <a:endParaRPr lang="de-DE" altLang="de-DE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1428422-5EBF-4943-8A77-F179CF4EB4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9987903"/>
              </p:ext>
            </p:extLst>
          </p:nvPr>
        </p:nvGraphicFramePr>
        <p:xfrm>
          <a:off x="1977192" y="2872740"/>
          <a:ext cx="527745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671">
                  <a:extLst>
                    <a:ext uri="{9D8B030D-6E8A-4147-A177-3AD203B41FA5}">
                      <a16:colId xmlns:a16="http://schemas.microsoft.com/office/drawing/2014/main" val="2882283892"/>
                    </a:ext>
                  </a:extLst>
                </a:gridCol>
                <a:gridCol w="1475003">
                  <a:extLst>
                    <a:ext uri="{9D8B030D-6E8A-4147-A177-3AD203B41FA5}">
                      <a16:colId xmlns:a16="http://schemas.microsoft.com/office/drawing/2014/main" val="3857781869"/>
                    </a:ext>
                  </a:extLst>
                </a:gridCol>
                <a:gridCol w="1524034">
                  <a:extLst>
                    <a:ext uri="{9D8B030D-6E8A-4147-A177-3AD203B41FA5}">
                      <a16:colId xmlns:a16="http://schemas.microsoft.com/office/drawing/2014/main" val="983274138"/>
                    </a:ext>
                  </a:extLst>
                </a:gridCol>
                <a:gridCol w="1822744">
                  <a:extLst>
                    <a:ext uri="{9D8B030D-6E8A-4147-A177-3AD203B41FA5}">
                      <a16:colId xmlns:a16="http://schemas.microsoft.com/office/drawing/2014/main" val="2601895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e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otal </a:t>
                      </a:r>
                      <a:r>
                        <a:rPr lang="de-DE" dirty="0" err="1"/>
                        <a:t>Latency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72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b="0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11,200 </a:t>
                      </a:r>
                      <a:r>
                        <a:rPr lang="de-DE" b="0" dirty="0" err="1">
                          <a:solidFill>
                            <a:schemeClr val="tx1"/>
                          </a:solidFill>
                        </a:rPr>
                        <a:t>ms</a:t>
                      </a:r>
                      <a:endParaRPr lang="de-DE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876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Fog </a:t>
                      </a:r>
                      <a:r>
                        <a:rPr lang="de-DE" b="1" dirty="0" err="1">
                          <a:solidFill>
                            <a:schemeClr val="tx1"/>
                          </a:solidFill>
                        </a:rPr>
                        <a:t>Node</a:t>
                      </a:r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3,500 </a:t>
                      </a:r>
                      <a:r>
                        <a:rPr lang="de-DE" b="1" dirty="0" err="1">
                          <a:solidFill>
                            <a:schemeClr val="tx1"/>
                          </a:solidFill>
                        </a:rPr>
                        <a:t>ms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6539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7183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0153B-5E9A-3F4D-AACD-57E244F55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72192-5C3F-AC49-9CF7-FCC345374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de-DE" dirty="0" err="1"/>
              <a:t>Introduction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/>
              <a:t>Fog </a:t>
            </a:r>
            <a:r>
              <a:rPr lang="de-DE" dirty="0" err="1"/>
              <a:t>Architecture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 err="1"/>
              <a:t>Node</a:t>
            </a:r>
            <a:r>
              <a:rPr lang="de-DE" dirty="0"/>
              <a:t>-RED</a:t>
            </a:r>
          </a:p>
          <a:p>
            <a:pPr>
              <a:buFont typeface="+mj-lt"/>
              <a:buAutoNum type="arabicPeriod"/>
            </a:pPr>
            <a:r>
              <a:rPr lang="de-DE" dirty="0"/>
              <a:t>Task Distribution</a:t>
            </a:r>
          </a:p>
          <a:p>
            <a:pPr>
              <a:buFont typeface="+mj-lt"/>
              <a:buAutoNum type="arabicPeriod"/>
            </a:pPr>
            <a:r>
              <a:rPr lang="de-DE" dirty="0" err="1"/>
              <a:t>QoS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b="1" dirty="0" err="1"/>
              <a:t>Orchestrator</a:t>
            </a:r>
            <a:endParaRPr lang="de-DE" b="1" dirty="0"/>
          </a:p>
          <a:p>
            <a:pPr>
              <a:buFont typeface="+mj-lt"/>
              <a:buAutoNum type="arabicPeriod"/>
            </a:pPr>
            <a:r>
              <a:rPr lang="de-DE" dirty="0"/>
              <a:t>Evaluation</a:t>
            </a:r>
          </a:p>
          <a:p>
            <a:pPr>
              <a:buFont typeface="+mj-lt"/>
              <a:buAutoNum type="arabicPeriod"/>
            </a:pPr>
            <a:r>
              <a:rPr lang="de-DE" dirty="0"/>
              <a:t>Future Wor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0F3E33-BEA9-5B41-9EAC-0AB1D95E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CC3A18-8132-C847-A7F9-7C6CB5083A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411870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7" name="Inhaltsplatzhalter 6" descr="Ein Bild, das Spiel, Sport, Ball, schwarz enthält.&#10;&#10;Automatisch generierte Beschreibung">
            <a:extLst>
              <a:ext uri="{FF2B5EF4-FFF2-40B4-BE49-F238E27FC236}">
                <a16:creationId xmlns:a16="http://schemas.microsoft.com/office/drawing/2014/main" id="{B7C07D7B-2A40-FC4F-B3D7-C0A18FDCD6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562" y="2398712"/>
            <a:ext cx="2679700" cy="354330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84656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5</a:t>
            </a:fld>
            <a:endParaRPr lang="de-DE" altLang="de-DE"/>
          </a:p>
        </p:txBody>
      </p:sp>
      <p:pic>
        <p:nvPicPr>
          <p:cNvPr id="8" name="Inhaltsplatzhalter 7" descr="Ein Bild, das Fahrrad, schwarz, klein, Mann enthält.&#10;&#10;Automatisch generierte Beschreibung">
            <a:extLst>
              <a:ext uri="{FF2B5EF4-FFF2-40B4-BE49-F238E27FC236}">
                <a16:creationId xmlns:a16="http://schemas.microsoft.com/office/drawing/2014/main" id="{916C2FE6-60CD-7940-AA96-031A04611B6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562" y="2398712"/>
            <a:ext cx="2679700" cy="3543300"/>
          </a:xfrm>
        </p:spPr>
      </p:pic>
    </p:spTree>
    <p:extLst>
      <p:ext uri="{BB962C8B-B14F-4D97-AF65-F5344CB8AC3E}">
        <p14:creationId xmlns:p14="http://schemas.microsoft.com/office/powerpoint/2010/main" val="25549986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6</a:t>
            </a:fld>
            <a:endParaRPr lang="de-DE" altLang="de-DE"/>
          </a:p>
        </p:txBody>
      </p:sp>
      <p:pic>
        <p:nvPicPr>
          <p:cNvPr id="7" name="Inhaltsplatzhalter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6AACDFF7-AE7E-1B49-AE40-9FD80B77AE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496918"/>
            <a:ext cx="8061325" cy="3346889"/>
          </a:xfrm>
        </p:spPr>
      </p:pic>
    </p:spTree>
    <p:extLst>
      <p:ext uri="{BB962C8B-B14F-4D97-AF65-F5344CB8AC3E}">
        <p14:creationId xmlns:p14="http://schemas.microsoft.com/office/powerpoint/2010/main" val="14666276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7</a:t>
            </a:fld>
            <a:endParaRPr lang="de-DE" altLang="de-DE"/>
          </a:p>
        </p:txBody>
      </p:sp>
      <p:pic>
        <p:nvPicPr>
          <p:cNvPr id="8" name="Inhaltsplatzhalter 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876AE8DA-AE85-0546-892F-DB0ACFC7E6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496918"/>
            <a:ext cx="8061325" cy="3346889"/>
          </a:xfrm>
        </p:spPr>
      </p:pic>
    </p:spTree>
    <p:extLst>
      <p:ext uri="{BB962C8B-B14F-4D97-AF65-F5344CB8AC3E}">
        <p14:creationId xmlns:p14="http://schemas.microsoft.com/office/powerpoint/2010/main" val="199957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8</a:t>
            </a:fld>
            <a:endParaRPr lang="de-DE" altLang="de-DE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1CA0733-B0AE-6348-A5AF-287BB0F51F5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45" y="2349500"/>
            <a:ext cx="8023735" cy="3641725"/>
          </a:xfrm>
        </p:spPr>
      </p:pic>
    </p:spTree>
    <p:extLst>
      <p:ext uri="{BB962C8B-B14F-4D97-AF65-F5344CB8AC3E}">
        <p14:creationId xmlns:p14="http://schemas.microsoft.com/office/powerpoint/2010/main" val="16461407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29</a:t>
            </a:fld>
            <a:endParaRPr lang="de-DE" altLang="de-DE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0B3FA2B-2082-EE48-A249-DDFD142697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13" y="2349500"/>
            <a:ext cx="7623798" cy="3641725"/>
          </a:xfrm>
        </p:spPr>
      </p:pic>
    </p:spTree>
    <p:extLst>
      <p:ext uri="{BB962C8B-B14F-4D97-AF65-F5344CB8AC3E}">
        <p14:creationId xmlns:p14="http://schemas.microsoft.com/office/powerpoint/2010/main" val="403631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1049A8-BE4C-624D-9A00-1EE2ADB0A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- Fog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A968FF5-8B21-6D45-9F88-BFEA4CF41F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7895FF-05AC-2240-B369-67C0B0CF79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</a:t>
            </a:fld>
            <a:endParaRPr lang="de-DE" altLang="de-DE"/>
          </a:p>
        </p:txBody>
      </p:sp>
      <p:pic>
        <p:nvPicPr>
          <p:cNvPr id="10" name="Grafik 9" descr="Ein Bild, das Karte enthält.&#10;&#10;Automatisch generierte Beschreibung">
            <a:extLst>
              <a:ext uri="{FF2B5EF4-FFF2-40B4-BE49-F238E27FC236}">
                <a16:creationId xmlns:a16="http://schemas.microsoft.com/office/drawing/2014/main" id="{6EA4165F-5830-C444-87B9-74B2FEA4AD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284413"/>
            <a:ext cx="7056586" cy="3247934"/>
          </a:xfrm>
          <a:prstGeom prst="rect">
            <a:avLst/>
          </a:prstGeom>
        </p:spPr>
      </p:pic>
      <p:pic>
        <p:nvPicPr>
          <p:cNvPr id="14" name="Grafik 13" descr="Ein Bild, das Uhr enthält.&#10;&#10;Automatisch generierte Beschreibung">
            <a:extLst>
              <a:ext uri="{FF2B5EF4-FFF2-40B4-BE49-F238E27FC236}">
                <a16:creationId xmlns:a16="http://schemas.microsoft.com/office/drawing/2014/main" id="{FD291D1C-08F6-BC4F-B5B9-C059DB05AE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1" y="2284414"/>
            <a:ext cx="7056586" cy="3247934"/>
          </a:xfrm>
          <a:prstGeom prst="rect">
            <a:avLst/>
          </a:prstGeom>
        </p:spPr>
      </p:pic>
      <p:pic>
        <p:nvPicPr>
          <p:cNvPr id="16" name="Grafik 15" descr="Ein Bild, das Uhr enthält.&#10;&#10;Automatisch generierte Beschreibung">
            <a:extLst>
              <a:ext uri="{FF2B5EF4-FFF2-40B4-BE49-F238E27FC236}">
                <a16:creationId xmlns:a16="http://schemas.microsoft.com/office/drawing/2014/main" id="{10A0F11C-73CD-D447-8E42-2A3217DCC3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284412"/>
            <a:ext cx="7056586" cy="3247934"/>
          </a:xfrm>
          <a:prstGeom prst="rect">
            <a:avLst/>
          </a:prstGeom>
        </p:spPr>
      </p:pic>
      <p:pic>
        <p:nvPicPr>
          <p:cNvPr id="18" name="Grafik 17" descr="Ein Bild, das Uhr enthält.&#10;&#10;Automatisch generierte Beschreibung">
            <a:extLst>
              <a:ext uri="{FF2B5EF4-FFF2-40B4-BE49-F238E27FC236}">
                <a16:creationId xmlns:a16="http://schemas.microsoft.com/office/drawing/2014/main" id="{3B4F36D8-D905-FE4F-A90C-F421F85E38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284412"/>
            <a:ext cx="7056586" cy="3247934"/>
          </a:xfrm>
          <a:prstGeom prst="rect">
            <a:avLst/>
          </a:prstGeom>
        </p:spPr>
      </p:pic>
      <p:pic>
        <p:nvPicPr>
          <p:cNvPr id="20" name="Grafik 19" descr="Ein Bild, das Spiel enthält.&#10;&#10;Automatisch generierte Beschreibung">
            <a:extLst>
              <a:ext uri="{FF2B5EF4-FFF2-40B4-BE49-F238E27FC236}">
                <a16:creationId xmlns:a16="http://schemas.microsoft.com/office/drawing/2014/main" id="{994F97CF-8ED1-6A43-8263-87BACAFF17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284412"/>
            <a:ext cx="7056586" cy="324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336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E1019A9-977B-C245-8100-52CF1BC720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13" y="2349500"/>
            <a:ext cx="7623798" cy="3641725"/>
          </a:xfrm>
        </p:spPr>
      </p:pic>
    </p:spTree>
    <p:extLst>
      <p:ext uri="{BB962C8B-B14F-4D97-AF65-F5344CB8AC3E}">
        <p14:creationId xmlns:p14="http://schemas.microsoft.com/office/powerpoint/2010/main" val="35534382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A9EA9CC-6DB6-1E4E-A2CE-1F419DF6B1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13" y="2349500"/>
            <a:ext cx="7623798" cy="3641725"/>
          </a:xfrm>
        </p:spPr>
      </p:pic>
    </p:spTree>
    <p:extLst>
      <p:ext uri="{BB962C8B-B14F-4D97-AF65-F5344CB8AC3E}">
        <p14:creationId xmlns:p14="http://schemas.microsoft.com/office/powerpoint/2010/main" val="37000467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329D596-7A64-7540-839C-231B4AEC29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13" y="2349500"/>
            <a:ext cx="7623798" cy="3641725"/>
          </a:xfrm>
        </p:spPr>
      </p:pic>
    </p:spTree>
    <p:extLst>
      <p:ext uri="{BB962C8B-B14F-4D97-AF65-F5344CB8AC3E}">
        <p14:creationId xmlns:p14="http://schemas.microsoft.com/office/powerpoint/2010/main" val="4122093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1102CD-86FF-3B42-A733-ED5018DB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Orchestrator</a:t>
            </a:r>
            <a:r>
              <a:rPr lang="de-DE" dirty="0"/>
              <a:t> -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C4E3-73F2-814F-9C61-947949717C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3D73FE-072B-A14F-BB57-ED914A8512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7" name="Inhaltsplatzhalter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9FFB5236-2D54-9040-9A4C-49E49509CA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13" y="2349500"/>
            <a:ext cx="7623798" cy="3641725"/>
          </a:xfrm>
        </p:spPr>
      </p:pic>
    </p:spTree>
    <p:extLst>
      <p:ext uri="{BB962C8B-B14F-4D97-AF65-F5344CB8AC3E}">
        <p14:creationId xmlns:p14="http://schemas.microsoft.com/office/powerpoint/2010/main" val="35859644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A78CA7-BBF0-A044-93F0-51C0DAC99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Contoller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0C8966-5738-8E4F-A8B7-C720FE5931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E6A813-9463-DC4A-9902-34E999BE04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4</a:t>
            </a:fld>
            <a:endParaRPr lang="de-DE" altLang="de-DE"/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BEA28B0-00BA-FD44-8DD3-2CAD3F8319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6989" y="2197100"/>
            <a:ext cx="4117037" cy="3641725"/>
          </a:xfrm>
          <a:prstGeom prst="rect">
            <a:avLst/>
          </a:prstGeom>
        </p:spPr>
      </p:pic>
      <p:pic>
        <p:nvPicPr>
          <p:cNvPr id="8" name="Inhaltsplatzhalter 5">
            <a:extLst>
              <a:ext uri="{FF2B5EF4-FFF2-40B4-BE49-F238E27FC236}">
                <a16:creationId xmlns:a16="http://schemas.microsoft.com/office/drawing/2014/main" id="{9094C50A-4F1D-EA4F-8E45-A2DC14A8F3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9750" y="2882730"/>
            <a:ext cx="8061325" cy="3489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0AB778-6290-204D-A34E-32E11035AC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Us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-RED Admin AP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Sends </a:t>
            </a:r>
            <a:r>
              <a:rPr lang="de-DE" dirty="0" err="1"/>
              <a:t>commands</a:t>
            </a:r>
            <a:r>
              <a:rPr lang="de-DE" dirty="0"/>
              <a:t> via MQT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Gets</a:t>
            </a:r>
            <a:r>
              <a:rPr lang="de-DE" dirty="0"/>
              <a:t> </a:t>
            </a:r>
            <a:r>
              <a:rPr lang="de-DE" dirty="0" err="1"/>
              <a:t>flow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flow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, </a:t>
            </a:r>
            <a:r>
              <a:rPr lang="de-DE" dirty="0" err="1"/>
              <a:t>replaces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destination</a:t>
            </a:r>
            <a:r>
              <a:rPr lang="de-DE" dirty="0"/>
              <a:t>, </a:t>
            </a:r>
            <a:r>
              <a:rPr lang="de-DE" dirty="0" err="1"/>
              <a:t>deploys</a:t>
            </a:r>
            <a:r>
              <a:rPr lang="de-DE" dirty="0"/>
              <a:t> </a:t>
            </a:r>
            <a:r>
              <a:rPr lang="de-DE" dirty="0" err="1"/>
              <a:t>flow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instances</a:t>
            </a:r>
            <a:endParaRPr lang="de-DE" dirty="0"/>
          </a:p>
          <a:p>
            <a:pPr marL="0" indent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7BE8616-C286-5F43-A8AF-1E555AE2E2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32" y="3343035"/>
            <a:ext cx="7658959" cy="115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036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5D6CF0-57AB-1549-A23D-9452C112A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Monitor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y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C2C85CE-6E68-1D44-B12D-66451BC10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2349500"/>
            <a:ext cx="3835767" cy="36417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lected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y</a:t>
            </a:r>
            <a:r>
              <a:rPr lang="de-DE" dirty="0"/>
              <a:t> </a:t>
            </a:r>
            <a:r>
              <a:rPr lang="de-DE" dirty="0" err="1"/>
              <a:t>me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oS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istics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ttach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i="1" dirty="0" err="1"/>
              <a:t>message</a:t>
            </a:r>
            <a:r>
              <a:rPr lang="de-DE" i="1" dirty="0"/>
              <a:t> </a:t>
            </a:r>
            <a:r>
              <a:rPr lang="de-DE" i="1" dirty="0" err="1"/>
              <a:t>transfe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i="1" dirty="0" err="1"/>
              <a:t>task</a:t>
            </a:r>
            <a:r>
              <a:rPr lang="de-DE" i="1" dirty="0"/>
              <a:t> </a:t>
            </a:r>
            <a:r>
              <a:rPr lang="de-DE" i="1" dirty="0" err="1"/>
              <a:t>executions</a:t>
            </a:r>
            <a:endParaRPr lang="de-DE" i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The last </a:t>
            </a:r>
            <a:r>
              <a:rPr lang="de-DE" dirty="0" err="1"/>
              <a:t>modul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op</a:t>
            </a:r>
            <a:r>
              <a:rPr lang="de-DE" dirty="0"/>
              <a:t> </a:t>
            </a:r>
            <a:r>
              <a:rPr lang="de-DE" dirty="0" err="1"/>
              <a:t>s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QTT </a:t>
            </a:r>
            <a:r>
              <a:rPr lang="de-DE" dirty="0" err="1"/>
              <a:t>broker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FD07DC-D1BA-BA4B-9CE0-A8C49CB891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08A16B-1248-8541-A1BF-19E800A51F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5</a:t>
            </a:fld>
            <a:endParaRPr lang="de-DE" alt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7B15186-F89F-094B-8FDC-5E7484D0BC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2362725"/>
            <a:ext cx="4029075" cy="2019463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8F4F5750-DC62-EA4D-B039-FEE4BE3FAF9F}"/>
              </a:ext>
            </a:extLst>
          </p:cNvPr>
          <p:cNvSpPr/>
          <p:nvPr/>
        </p:nvSpPr>
        <p:spPr bwMode="auto">
          <a:xfrm>
            <a:off x="188926" y="2098675"/>
            <a:ext cx="8735920" cy="4060300"/>
          </a:xfrm>
          <a:prstGeom prst="rect">
            <a:avLst/>
          </a:prstGeom>
          <a:solidFill>
            <a:schemeClr val="bg1">
              <a:alpha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FAEBB4-D35F-4149-8D54-E139C291D2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1854" y="2130624"/>
            <a:ext cx="3603810" cy="457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97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3.33333E-6 L -0.22031 0.14722 " pathEditMode="relative" rAng="0" ptsTypes="AA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024" y="7361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2031 0.14722 L -2.5E-6 3.33333E-6 " pathEditMode="relative" rAng="0" ptsTypes="AA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07" y="-7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0153B-5E9A-3F4D-AACD-57E244F55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72192-5C3F-AC49-9CF7-FCC345374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de-DE" dirty="0" err="1"/>
              <a:t>Introduction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/>
              <a:t>Fog </a:t>
            </a:r>
            <a:r>
              <a:rPr lang="de-DE" dirty="0" err="1"/>
              <a:t>Architecture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 err="1"/>
              <a:t>Node</a:t>
            </a:r>
            <a:r>
              <a:rPr lang="de-DE" dirty="0"/>
              <a:t>-RED</a:t>
            </a:r>
          </a:p>
          <a:p>
            <a:pPr>
              <a:buFont typeface="+mj-lt"/>
              <a:buAutoNum type="arabicPeriod"/>
            </a:pPr>
            <a:r>
              <a:rPr lang="de-DE" dirty="0"/>
              <a:t>Task Distribution</a:t>
            </a:r>
          </a:p>
          <a:p>
            <a:pPr>
              <a:buFont typeface="+mj-lt"/>
              <a:buAutoNum type="arabicPeriod"/>
            </a:pPr>
            <a:r>
              <a:rPr lang="de-DE" dirty="0" err="1"/>
              <a:t>QoS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 err="1"/>
              <a:t>Orchestrator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b="1" dirty="0"/>
              <a:t>Evaluation</a:t>
            </a:r>
          </a:p>
          <a:p>
            <a:pPr>
              <a:buFont typeface="+mj-lt"/>
              <a:buAutoNum type="arabicPeriod"/>
            </a:pPr>
            <a:r>
              <a:rPr lang="de-DE" dirty="0"/>
              <a:t>Future Wor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0F3E33-BEA9-5B41-9EAC-0AB1D95E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CC3A18-8132-C847-A7F9-7C6CB5083A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52010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321498-A93E-964A-91CC-50655D248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Use</a:t>
            </a:r>
            <a:r>
              <a:rPr lang="de-DE" dirty="0"/>
              <a:t>-Case: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Applicatio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FC521-0483-BB40-8771-EB336CD199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de-DE" b="1" dirty="0" err="1"/>
              <a:t>Steps</a:t>
            </a:r>
            <a:endParaRPr lang="de-DE" b="1" dirty="0"/>
          </a:p>
          <a:p>
            <a:pPr>
              <a:buFont typeface="+mj-lt"/>
              <a:buAutoNum type="arabicPeriod"/>
            </a:pPr>
            <a:r>
              <a:rPr lang="de-DE" dirty="0"/>
              <a:t>User </a:t>
            </a:r>
            <a:r>
              <a:rPr lang="de-DE" dirty="0" err="1"/>
              <a:t>uploads</a:t>
            </a:r>
            <a:r>
              <a:rPr lang="de-DE" dirty="0"/>
              <a:t> an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ion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The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returns</a:t>
            </a:r>
            <a:r>
              <a:rPr lang="de-DE" dirty="0"/>
              <a:t> an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cont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tected</a:t>
            </a:r>
            <a:r>
              <a:rPr lang="de-DE" dirty="0"/>
              <a:t> </a:t>
            </a:r>
            <a:r>
              <a:rPr lang="de-DE" dirty="0" err="1"/>
              <a:t>objects</a:t>
            </a: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/>
            <a:r>
              <a:rPr lang="de-DE" b="1" dirty="0" err="1"/>
              <a:t>Challenges</a:t>
            </a:r>
            <a:endParaRPr lang="de-D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ython </a:t>
            </a:r>
            <a:r>
              <a:rPr lang="de-DE" dirty="0" err="1"/>
              <a:t>environment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– </a:t>
            </a:r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natively</a:t>
            </a:r>
            <a:r>
              <a:rPr lang="de-DE" dirty="0"/>
              <a:t> </a:t>
            </a:r>
            <a:r>
              <a:rPr lang="de-DE" dirty="0" err="1"/>
              <a:t>supports</a:t>
            </a:r>
            <a:r>
              <a:rPr lang="de-DE" dirty="0"/>
              <a:t> JavaScript </a:t>
            </a:r>
            <a:r>
              <a:rPr lang="de-DE" dirty="0" err="1"/>
              <a:t>onl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itialization</a:t>
            </a:r>
            <a:r>
              <a:rPr lang="de-DE" dirty="0"/>
              <a:t> time: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engine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nitialized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imag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0" indent="0"/>
            <a:r>
              <a:rPr lang="de-DE" b="1" dirty="0"/>
              <a:t>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eparate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engin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act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proxy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DEFCE2-6958-FA4A-8E0D-7460363F16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290E6E-10E0-B54C-A89F-F8E401B768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7</a:t>
            </a:fld>
            <a:endParaRPr lang="de-DE" altLang="de-DE"/>
          </a:p>
        </p:txBody>
      </p:sp>
      <p:pic>
        <p:nvPicPr>
          <p:cNvPr id="7" name="Grafik 6" descr="Ein Bild, das Screenshot, Uhr, Zeichnung enthält.&#10;&#10;Automatisch generierte Beschreibung">
            <a:extLst>
              <a:ext uri="{FF2B5EF4-FFF2-40B4-BE49-F238E27FC236}">
                <a16:creationId xmlns:a16="http://schemas.microsoft.com/office/drawing/2014/main" id="{A7934B55-C72C-7C4D-8F35-FF5AA318D7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76" y="2997672"/>
            <a:ext cx="7924999" cy="1884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035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indefinit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2" dur="indefinit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indefinit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5" dur="indefinit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indefinit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8" dur="indefinit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indefinit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1" dur="indefinit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indefinite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4" dur="indefinite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indefinite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7" dur="indefinite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indefinite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0" dur="indefinite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3" dur="indefinite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 descr="Ein Bild, das Personen enthält.&#10;&#10;Automatisch generierte Beschreibung">
            <a:extLst>
              <a:ext uri="{FF2B5EF4-FFF2-40B4-BE49-F238E27FC236}">
                <a16:creationId xmlns:a16="http://schemas.microsoft.com/office/drawing/2014/main" id="{C373732B-D314-E145-AD2D-512099EB59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1419054"/>
            <a:ext cx="5959904" cy="485641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F84D669-94BD-184A-B507-169C78068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6964CF-5540-4E4C-B19D-143F800AD2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660995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B90557-BD95-744E-9EC6-7508CA66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Evaluation -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Web </a:t>
            </a:r>
            <a:r>
              <a:rPr lang="de-DE" dirty="0" err="1"/>
              <a:t>Application</a:t>
            </a:r>
            <a:endParaRPr lang="de-DE" dirty="0"/>
          </a:p>
        </p:txBody>
      </p:sp>
      <p:pic>
        <p:nvPicPr>
          <p:cNvPr id="11" name="Inhaltsplatzhalter 10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8F519665-86AB-A44C-A6C4-7E3B3CF9F1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262" y="2252662"/>
            <a:ext cx="6301087" cy="373856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F4D722-FB5C-DC45-886B-7FC49A644D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E9B581-08B1-264F-9F19-9630491CF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39</a:t>
            </a:fld>
            <a:endParaRPr lang="de-DE" altLang="de-DE"/>
          </a:p>
        </p:txBody>
      </p:sp>
      <p:pic>
        <p:nvPicPr>
          <p:cNvPr id="13" name="Grafik 12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1AAA68E9-6C4B-0142-9EDF-2488842F11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261" y="2252661"/>
            <a:ext cx="6301088" cy="3738563"/>
          </a:xfrm>
          <a:prstGeom prst="rect">
            <a:avLst/>
          </a:prstGeom>
        </p:spPr>
      </p:pic>
      <p:pic>
        <p:nvPicPr>
          <p:cNvPr id="15" name="Grafik 1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E56A5675-D89A-274D-AB13-0EF193301A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589" y="2252624"/>
            <a:ext cx="6301090" cy="3738564"/>
          </a:xfrm>
          <a:prstGeom prst="rect">
            <a:avLst/>
          </a:prstGeom>
        </p:spPr>
      </p:pic>
      <p:pic>
        <p:nvPicPr>
          <p:cNvPr id="17" name="Grafik 1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E0D9A40-9EFB-B645-B2C6-EF6E2D859A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850" y="2251886"/>
            <a:ext cx="6301088" cy="3738563"/>
          </a:xfrm>
          <a:prstGeom prst="rect">
            <a:avLst/>
          </a:prstGeom>
        </p:spPr>
      </p:pic>
      <p:pic>
        <p:nvPicPr>
          <p:cNvPr id="19" name="Grafik 18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647BA9C-B91E-3349-93B4-9F81D52786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929" y="2251111"/>
            <a:ext cx="6301089" cy="3738563"/>
          </a:xfrm>
          <a:prstGeom prst="rect">
            <a:avLst/>
          </a:prstGeom>
        </p:spPr>
      </p:pic>
      <p:pic>
        <p:nvPicPr>
          <p:cNvPr id="21" name="Grafik 2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B48780A0-BAEF-834A-B76F-81DC87BB84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111" y="2251111"/>
            <a:ext cx="6297907" cy="3736676"/>
          </a:xfrm>
          <a:prstGeom prst="rect">
            <a:avLst/>
          </a:prstGeom>
        </p:spPr>
      </p:pic>
      <p:pic>
        <p:nvPicPr>
          <p:cNvPr id="23" name="Grafik 22" descr="Ein Bild, das Karte enthält.&#10;&#10;Automatisch generierte Beschreibung">
            <a:extLst>
              <a:ext uri="{FF2B5EF4-FFF2-40B4-BE49-F238E27FC236}">
                <a16:creationId xmlns:a16="http://schemas.microsoft.com/office/drawing/2014/main" id="{B7CBD8AD-D3D5-8042-85CD-79ED22817B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111" y="2251111"/>
            <a:ext cx="6297908" cy="3736676"/>
          </a:xfrm>
          <a:prstGeom prst="rect">
            <a:avLst/>
          </a:prstGeom>
        </p:spPr>
      </p:pic>
      <p:pic>
        <p:nvPicPr>
          <p:cNvPr id="25" name="Grafik 24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26ED0291-8993-FB48-BDAF-47D18F3C33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929" y="2251111"/>
            <a:ext cx="6297908" cy="3736676"/>
          </a:xfrm>
          <a:prstGeom prst="rect">
            <a:avLst/>
          </a:prstGeom>
        </p:spPr>
      </p:pic>
      <p:pic>
        <p:nvPicPr>
          <p:cNvPr id="27" name="Grafik 26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AA2ECA96-24DD-604C-9553-B8A3C8DCA7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929" y="2251111"/>
            <a:ext cx="6297908" cy="373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794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44497E-FBEA-0C4E-A2A3-9714019DC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- </a:t>
            </a:r>
            <a:r>
              <a:rPr lang="de-DE" dirty="0" err="1"/>
              <a:t>Node</a:t>
            </a:r>
            <a:r>
              <a:rPr lang="de-DE" dirty="0"/>
              <a:t>-RED Flow-Editor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BA2F8482-CFC5-4C4D-BAA1-50E68F3F7E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74735" y="2098675"/>
            <a:ext cx="7191353" cy="427355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B114A5-71AC-3A4A-A140-AE912CADA2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5F4A2B-9218-BB48-8ADD-9465DD4E02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076560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F2F9ED-1591-4C41-A00D-9601DE376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Evaluation - Infrastructure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8E8BFD68-5A6E-1A4F-8166-1B19FAA958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16145" y="2098675"/>
            <a:ext cx="5508533" cy="3839281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DC7A74-C357-A245-AB05-1A176E661B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CF7F2DA-399D-3044-BFE6-07875442D6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310168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B0C67B-A52C-F34B-BD0B-03F890A42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Evaluation -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0D795D-E0C5-F34E-A010-D06AC37AE8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err="1"/>
              <a:t>Constraints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Module</a:t>
            </a:r>
            <a:r>
              <a:rPr lang="de-DE" i="1" dirty="0"/>
              <a:t> </a:t>
            </a:r>
            <a:r>
              <a:rPr lang="de-DE" i="1" dirty="0" err="1"/>
              <a:t>webapp</a:t>
            </a:r>
            <a:r>
              <a:rPr lang="de-DE" dirty="0"/>
              <a:t>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ployed</a:t>
            </a:r>
            <a:r>
              <a:rPr lang="de-DE" dirty="0"/>
              <a:t> on </a:t>
            </a:r>
            <a:r>
              <a:rPr lang="de-DE" i="1" dirty="0"/>
              <a:t>raspi-01</a:t>
            </a:r>
          </a:p>
          <a:p>
            <a:pPr>
              <a:buFont typeface="+mj-lt"/>
              <a:buAutoNum type="arabicPeriod"/>
            </a:pPr>
            <a:r>
              <a:rPr lang="de-DE" dirty="0"/>
              <a:t>Module </a:t>
            </a:r>
            <a:r>
              <a:rPr lang="de-DE" i="1" dirty="0" err="1"/>
              <a:t>detector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i="1" dirty="0" err="1"/>
              <a:t>object</a:t>
            </a:r>
            <a:r>
              <a:rPr lang="de-DE" i="1" dirty="0"/>
              <a:t>-</a:t>
            </a:r>
            <a:r>
              <a:rPr lang="de-DE" i="1" dirty="0" err="1"/>
              <a:t>detection</a:t>
            </a:r>
            <a:r>
              <a:rPr lang="de-DE" i="1" dirty="0"/>
              <a:t>-server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</a:t>
            </a:r>
            <a:r>
              <a:rPr lang="de-DE" dirty="0" err="1"/>
              <a:t>running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i="1" dirty="0"/>
              <a:t>Max </a:t>
            </a:r>
            <a:r>
              <a:rPr lang="de-DE" i="1" dirty="0" err="1"/>
              <a:t>latency</a:t>
            </a:r>
            <a:r>
              <a:rPr lang="de-DE" i="1" dirty="0"/>
              <a:t>:</a:t>
            </a:r>
            <a:r>
              <a:rPr lang="de-DE" dirty="0"/>
              <a:t> 5 </a:t>
            </a:r>
            <a:r>
              <a:rPr lang="de-DE" dirty="0" err="1"/>
              <a:t>seconds</a:t>
            </a:r>
            <a:endParaRPr lang="de-DE" dirty="0"/>
          </a:p>
          <a:p>
            <a:pPr>
              <a:buFont typeface="+mj-lt"/>
              <a:buAutoNum type="arabicPeriod"/>
            </a:pPr>
            <a:endParaRPr lang="de-DE" i="1" dirty="0"/>
          </a:p>
          <a:p>
            <a:pPr marL="0" indent="0"/>
            <a:r>
              <a:rPr lang="de-DE" b="1" dirty="0" err="1"/>
              <a:t>Possible</a:t>
            </a:r>
            <a:r>
              <a:rPr lang="de-DE" b="1" dirty="0"/>
              <a:t> </a:t>
            </a:r>
            <a:r>
              <a:rPr lang="de-DE" b="1" dirty="0" err="1"/>
              <a:t>module</a:t>
            </a:r>
            <a:r>
              <a:rPr lang="de-DE" b="1" dirty="0"/>
              <a:t> </a:t>
            </a:r>
            <a:r>
              <a:rPr lang="de-DE" b="1" dirty="0" err="1"/>
              <a:t>placements</a:t>
            </a:r>
            <a:endParaRPr lang="de-D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dule </a:t>
            </a:r>
            <a:r>
              <a:rPr lang="de-DE" i="1" dirty="0" err="1"/>
              <a:t>webapp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laced</a:t>
            </a:r>
            <a:r>
              <a:rPr lang="de-DE" dirty="0"/>
              <a:t> on </a:t>
            </a:r>
            <a:r>
              <a:rPr lang="de-DE" i="1" dirty="0"/>
              <a:t>raspi-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dule </a:t>
            </a:r>
            <a:r>
              <a:rPr lang="de-DE" i="1" dirty="0" err="1"/>
              <a:t>detecto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laced</a:t>
            </a:r>
            <a:r>
              <a:rPr lang="de-DE" dirty="0"/>
              <a:t> on all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except</a:t>
            </a:r>
            <a:r>
              <a:rPr lang="de-DE" dirty="0"/>
              <a:t> </a:t>
            </a:r>
            <a:r>
              <a:rPr lang="de-DE" i="1" dirty="0"/>
              <a:t>raspi-0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4A4F08-9896-FD44-8BF2-4966263936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CFEDA99-F86B-1043-B2B1-668F1111BE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1</a:t>
            </a:fld>
            <a:endParaRPr lang="de-DE" alt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73FA45F-E83B-B842-82CD-5B99712139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399" y="2173127"/>
            <a:ext cx="6828312" cy="404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28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indefinit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3" dur="indefinit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indefinit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6" dur="indefinit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indefinit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9" dur="indefinit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indefinit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2" dur="indefinit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indefinite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1" dur="indefinite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8D88CD-9D41-B243-A0B9-5906F57F3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Evaluation -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ies</a:t>
            </a:r>
            <a:endParaRPr lang="de-DE" dirty="0"/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728D169E-5D87-4746-81D6-72613482EB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4203244"/>
              </p:ext>
            </p:extLst>
          </p:nvPr>
        </p:nvGraphicFramePr>
        <p:xfrm>
          <a:off x="539750" y="2349500"/>
          <a:ext cx="806132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042">
                  <a:extLst>
                    <a:ext uri="{9D8B030D-6E8A-4147-A177-3AD203B41FA5}">
                      <a16:colId xmlns:a16="http://schemas.microsoft.com/office/drawing/2014/main" val="3477596685"/>
                    </a:ext>
                  </a:extLst>
                </a:gridCol>
                <a:gridCol w="2588821">
                  <a:extLst>
                    <a:ext uri="{9D8B030D-6E8A-4147-A177-3AD203B41FA5}">
                      <a16:colId xmlns:a16="http://schemas.microsoft.com/office/drawing/2014/main" val="1419801262"/>
                    </a:ext>
                  </a:extLst>
                </a:gridCol>
                <a:gridCol w="2695699">
                  <a:extLst>
                    <a:ext uri="{9D8B030D-6E8A-4147-A177-3AD203B41FA5}">
                      <a16:colId xmlns:a16="http://schemas.microsoft.com/office/drawing/2014/main" val="1196035758"/>
                    </a:ext>
                  </a:extLst>
                </a:gridCol>
                <a:gridCol w="1772762">
                  <a:extLst>
                    <a:ext uri="{9D8B030D-6E8A-4147-A177-3AD203B41FA5}">
                      <a16:colId xmlns:a16="http://schemas.microsoft.com/office/drawing/2014/main" val="21080688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Priorit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lacement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i="1" dirty="0" err="1"/>
                        <a:t>webapp</a:t>
                      </a:r>
                      <a:endParaRPr lang="de-DE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lacement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i="1" dirty="0" err="1"/>
                        <a:t>detector</a:t>
                      </a:r>
                      <a:endParaRPr lang="de-DE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Latency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599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i-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m-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,317 </a:t>
                      </a:r>
                      <a:r>
                        <a:rPr lang="de-DE" dirty="0" err="1"/>
                        <a:t>m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82494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raspi-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vm-azur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,429 </a:t>
                      </a:r>
                      <a:r>
                        <a:rPr lang="de-DE" dirty="0" err="1"/>
                        <a:t>m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6900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raspi-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m-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,704 </a:t>
                      </a:r>
                      <a:r>
                        <a:rPr lang="de-DE" dirty="0" err="1"/>
                        <a:t>m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280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raspi-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i-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,757 </a:t>
                      </a:r>
                      <a:r>
                        <a:rPr lang="de-DE" dirty="0" err="1"/>
                        <a:t>m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1231598"/>
                  </a:ext>
                </a:extLst>
              </a:tr>
            </a:tbl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365731-965D-CD49-90B1-97E62F93DE1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32A67B-49F5-CA4E-A878-61937173F8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127000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E3542F-15E8-1945-A4BE-A39B68F27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Evaluation - Experiment 1</a:t>
            </a:r>
          </a:p>
        </p:txBody>
      </p:sp>
      <p:pic>
        <p:nvPicPr>
          <p:cNvPr id="7" name="Inhaltsplatzhalter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B6473D61-FE61-B048-BAFF-5114BC6946B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740025"/>
            <a:ext cx="7645400" cy="347980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5A1550-11D3-8848-8C7D-095D7F2850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32A48D-AE72-724B-906C-0AFC49DE9E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3</a:t>
            </a:fld>
            <a:endParaRPr lang="de-DE" alt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B85B4C4-DC82-CB4B-8E70-58D0905FA175}"/>
              </a:ext>
            </a:extLst>
          </p:cNvPr>
          <p:cNvSpPr txBox="1"/>
          <p:nvPr/>
        </p:nvSpPr>
        <p:spPr>
          <a:xfrm>
            <a:off x="7545978" y="1648162"/>
            <a:ext cx="1160895" cy="116955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228600" indent="-228600" algn="l">
              <a:buAutoNum type="arabicPeriod"/>
            </a:pPr>
            <a:r>
              <a:rPr lang="de-DE" sz="1400" dirty="0">
                <a:ln>
                  <a:solidFill>
                    <a:schemeClr val="accent1"/>
                  </a:solidFill>
                </a:ln>
              </a:rPr>
              <a:t>raspi-01</a:t>
            </a:r>
          </a:p>
          <a:p>
            <a:pPr marL="228600" indent="-228600" algn="l">
              <a:buAutoNum type="arabicPeriod"/>
            </a:pPr>
            <a:r>
              <a:rPr lang="de-DE" sz="1400" dirty="0">
                <a:ln>
                  <a:solidFill>
                    <a:schemeClr val="accent1"/>
                  </a:solidFill>
                </a:ln>
              </a:rPr>
              <a:t>raspi-02</a:t>
            </a:r>
          </a:p>
          <a:p>
            <a:pPr marL="228600" indent="-228600" algn="l">
              <a:buAutoNum type="arabicPeriod"/>
            </a:pPr>
            <a:r>
              <a:rPr lang="de-DE" sz="1400" dirty="0">
                <a:ln>
                  <a:solidFill>
                    <a:schemeClr val="accent1"/>
                  </a:solidFill>
                </a:ln>
              </a:rPr>
              <a:t>vm-01</a:t>
            </a:r>
          </a:p>
          <a:p>
            <a:pPr marL="228600" indent="-228600" algn="l">
              <a:buAutoNum type="arabicPeriod"/>
            </a:pPr>
            <a:r>
              <a:rPr lang="de-DE" sz="1400" dirty="0" err="1">
                <a:ln>
                  <a:solidFill>
                    <a:schemeClr val="accent1"/>
                  </a:solidFill>
                </a:ln>
              </a:rPr>
              <a:t>vm-azure</a:t>
            </a:r>
            <a:endParaRPr lang="de-DE" sz="1400" dirty="0">
              <a:ln>
                <a:solidFill>
                  <a:schemeClr val="accent1"/>
                </a:solidFill>
              </a:ln>
            </a:endParaRPr>
          </a:p>
          <a:p>
            <a:pPr marL="228600" indent="-228600" algn="l">
              <a:buAutoNum type="arabicPeriod"/>
            </a:pPr>
            <a:r>
              <a:rPr lang="de-DE" sz="1400" dirty="0">
                <a:ln>
                  <a:solidFill>
                    <a:schemeClr val="accent1"/>
                  </a:solidFill>
                </a:ln>
              </a:rPr>
              <a:t>vm-0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A2DB3DF-60E2-5E42-9058-ECEC47104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318" y="3100328"/>
            <a:ext cx="8713054" cy="213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023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667C2E-FBEA-AD47-9E35-68D854C1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Evaluation - Experiment 2</a:t>
            </a:r>
          </a:p>
        </p:txBody>
      </p:sp>
      <p:pic>
        <p:nvPicPr>
          <p:cNvPr id="7" name="Inhaltsplatzhalter 6" descr="Ein Bild, das Uhr enthält.&#10;&#10;Automatisch generierte Beschreibung">
            <a:extLst>
              <a:ext uri="{FF2B5EF4-FFF2-40B4-BE49-F238E27FC236}">
                <a16:creationId xmlns:a16="http://schemas.microsoft.com/office/drawing/2014/main" id="{A4350A40-04FE-0043-9CCD-86E21C6004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36" y="2946400"/>
            <a:ext cx="7073900" cy="257810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7A98DE-6DCF-1342-B70C-F3E28791A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87FE82-C4B4-CB41-97F5-6161394C93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0459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CA82EC-BDDC-0849-808D-60E59808D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PU Benchmark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9C6695AE-6951-9F4F-861D-31ECF2A1DA2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>
                  <a:buFont typeface="Arial" panose="020B0604020202020204" pitchFamily="34" charset="0"/>
                  <a:buChar char="•"/>
                </a:pPr>
                <a:r>
                  <a:rPr lang="de-DE" dirty="0"/>
                  <a:t>Unlike RAM, </a:t>
                </a:r>
                <a:r>
                  <a:rPr lang="de-DE" dirty="0" err="1"/>
                  <a:t>connected</a:t>
                </a:r>
                <a:r>
                  <a:rPr lang="de-DE" dirty="0"/>
                  <a:t> </a:t>
                </a:r>
                <a:r>
                  <a:rPr lang="de-DE" dirty="0" err="1"/>
                  <a:t>hardware</a:t>
                </a:r>
                <a:r>
                  <a:rPr lang="de-DE" dirty="0"/>
                  <a:t>, </a:t>
                </a:r>
                <a:r>
                  <a:rPr lang="de-DE" dirty="0" err="1"/>
                  <a:t>or</a:t>
                </a:r>
                <a:r>
                  <a:rPr lang="de-DE" dirty="0"/>
                  <a:t> </a:t>
                </a:r>
                <a:r>
                  <a:rPr lang="de-DE" dirty="0" err="1"/>
                  <a:t>free</a:t>
                </a:r>
                <a:r>
                  <a:rPr lang="de-DE" dirty="0"/>
                  <a:t> </a:t>
                </a:r>
                <a:r>
                  <a:rPr lang="de-DE" dirty="0" err="1"/>
                  <a:t>disc</a:t>
                </a:r>
                <a:r>
                  <a:rPr lang="de-DE" dirty="0"/>
                  <a:t> </a:t>
                </a:r>
                <a:r>
                  <a:rPr lang="de-DE" dirty="0" err="1"/>
                  <a:t>space</a:t>
                </a:r>
                <a:r>
                  <a:rPr lang="de-DE" dirty="0"/>
                  <a:t>, MIPS </a:t>
                </a:r>
                <a:r>
                  <a:rPr lang="de-DE" dirty="0" err="1"/>
                  <a:t>cannot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read</a:t>
                </a:r>
                <a:r>
                  <a:rPr lang="de-DE" dirty="0"/>
                  <a:t> </a:t>
                </a:r>
                <a:r>
                  <a:rPr lang="de-DE" dirty="0" err="1"/>
                  <a:t>from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system</a:t>
                </a:r>
                <a:endParaRPr lang="de-DE" dirty="0"/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de-DE" dirty="0"/>
                  <a:t>Solution: CPU Benchmarking score (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higher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score,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aster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CPU)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dirty="0" err="1"/>
                  <a:t>Execution</a:t>
                </a:r>
                <a:r>
                  <a:rPr lang="de-DE" dirty="0"/>
                  <a:t> time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sysbench</a:t>
                </a:r>
                <a:r>
                  <a:rPr lang="de-DE" dirty="0"/>
                  <a:t> </a:t>
                </a:r>
                <a:r>
                  <a:rPr lang="de-DE" dirty="0" err="1"/>
                  <a:t>serves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a </a:t>
                </a:r>
                <a:r>
                  <a:rPr lang="de-DE" dirty="0" err="1"/>
                  <a:t>reference</a:t>
                </a:r>
                <a:r>
                  <a:rPr lang="de-DE" dirty="0"/>
                  <a:t> </a:t>
                </a:r>
                <a:r>
                  <a:rPr lang="de-DE" dirty="0" err="1"/>
                  <a:t>value</a:t>
                </a:r>
                <a:endParaRPr lang="de-DE" dirty="0"/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𝐶𝑃𝑈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𝑠𝑐𝑜𝑟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0,00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𝑦𝑠𝑏𝑒𝑛𝑐h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𝑒𝑠𝑢𝑙𝑡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[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𝑚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]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</a:p>
              <a:p>
                <a:pPr lvl="2">
                  <a:buFont typeface="Arial" panose="020B0604020202020204" pitchFamily="34" charset="0"/>
                  <a:buChar char="•"/>
                </a:pPr>
                <a:r>
                  <a:rPr lang="de-DE" dirty="0">
                    <a:sym typeface="Wingdings" pitchFamily="2" charset="2"/>
                  </a:rPr>
                  <a:t> </a:t>
                </a:r>
                <a:r>
                  <a:rPr lang="de-DE" dirty="0" err="1">
                    <a:sym typeface="Wingdings" pitchFamily="2" charset="2"/>
                  </a:rPr>
                  <a:t>th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shorter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th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execution</a:t>
                </a:r>
                <a:r>
                  <a:rPr lang="de-DE" dirty="0">
                    <a:sym typeface="Wingdings" pitchFamily="2" charset="2"/>
                  </a:rPr>
                  <a:t> time, </a:t>
                </a:r>
                <a:r>
                  <a:rPr lang="de-DE" dirty="0" err="1">
                    <a:sym typeface="Wingdings" pitchFamily="2" charset="2"/>
                  </a:rPr>
                  <a:t>th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higher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the</a:t>
                </a:r>
                <a:r>
                  <a:rPr lang="de-DE" dirty="0">
                    <a:sym typeface="Wingdings" pitchFamily="2" charset="2"/>
                  </a:rPr>
                  <a:t> score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de-DE" dirty="0">
                    <a:sym typeface="Wingdings" pitchFamily="2" charset="2"/>
                  </a:rPr>
                  <a:t>Setting </a:t>
                </a:r>
                <a:r>
                  <a:rPr lang="de-DE" dirty="0" err="1">
                    <a:sym typeface="Wingdings" pitchFamily="2" charset="2"/>
                  </a:rPr>
                  <a:t>required</a:t>
                </a:r>
                <a:r>
                  <a:rPr lang="de-DE" dirty="0">
                    <a:sym typeface="Wingdings" pitchFamily="2" charset="2"/>
                  </a:rPr>
                  <a:t> CPU </a:t>
                </a:r>
                <a:r>
                  <a:rPr lang="de-DE" dirty="0" err="1">
                    <a:sym typeface="Wingdings" pitchFamily="2" charset="2"/>
                  </a:rPr>
                  <a:t>instructions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for</a:t>
                </a:r>
                <a:r>
                  <a:rPr lang="de-DE" dirty="0">
                    <a:sym typeface="Wingdings" pitchFamily="2" charset="2"/>
                  </a:rPr>
                  <a:t> a </a:t>
                </a:r>
                <a:r>
                  <a:rPr lang="de-DE" dirty="0" err="1">
                    <a:sym typeface="Wingdings" pitchFamily="2" charset="2"/>
                  </a:rPr>
                  <a:t>module</a:t>
                </a:r>
                <a:endParaRPr lang="de-DE" dirty="0">
                  <a:sym typeface="Wingdings" pitchFamily="2" charset="2"/>
                </a:endParaRP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dirty="0">
                    <a:sym typeface="Wingdings" pitchFamily="2" charset="2"/>
                  </a:rPr>
                  <a:t>Module must </a:t>
                </a:r>
                <a:r>
                  <a:rPr lang="de-DE" dirty="0" err="1">
                    <a:sym typeface="Wingdings" pitchFamily="2" charset="2"/>
                  </a:rPr>
                  <a:t>b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deployed</a:t>
                </a:r>
                <a:r>
                  <a:rPr lang="de-DE" dirty="0">
                    <a:sym typeface="Wingdings" pitchFamily="2" charset="2"/>
                  </a:rPr>
                  <a:t> on a </a:t>
                </a:r>
                <a:r>
                  <a:rPr lang="de-DE" dirty="0" err="1">
                    <a:sym typeface="Wingdings" pitchFamily="2" charset="2"/>
                  </a:rPr>
                  <a:t>known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fog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nod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to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determin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the</a:t>
                </a:r>
                <a:r>
                  <a:rPr lang="de-DE" dirty="0">
                    <a:sym typeface="Wingdings" pitchFamily="2" charset="2"/>
                  </a:rPr>
                  <a:t> </a:t>
                </a:r>
                <a:r>
                  <a:rPr lang="de-DE" dirty="0" err="1">
                    <a:sym typeface="Wingdings" pitchFamily="2" charset="2"/>
                  </a:rPr>
                  <a:t>execution</a:t>
                </a:r>
                <a:r>
                  <a:rPr lang="de-DE" dirty="0">
                    <a:sym typeface="Wingdings" pitchFamily="2" charset="2"/>
                  </a:rPr>
                  <a:t> time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𝑟𝑒𝑞𝑢𝑖𝑟𝑒𝑑𝑀𝑖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𝐶𝑃𝑈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𝑠𝑐𝑜𝑟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∗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𝑥𝑒𝑐𝑢𝑡𝑖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𝑚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[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]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000 [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]</m:t>
                        </m:r>
                      </m:den>
                    </m:f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9C6695AE-6951-9F4F-861D-31ECF2A1DA2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1260" t="-3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61756-29D0-414C-B7AD-DF43D0EDD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FF6CD1-2967-2B4A-969C-9CD0960DF1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81443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17FC6F-29C8-DC49-987B-882C07A9C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Investig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rong</a:t>
            </a:r>
            <a:r>
              <a:rPr lang="de-DE" dirty="0"/>
              <a:t> </a:t>
            </a:r>
            <a:r>
              <a:rPr lang="de-DE" dirty="0" err="1"/>
              <a:t>decisio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84B3403A-3DC3-B845-8DFD-7E398B29EDA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b="1" dirty="0"/>
                  <a:t>vm-02</a:t>
                </a:r>
                <a:r>
                  <a:rPr lang="de-DE" dirty="0"/>
                  <a:t> was </a:t>
                </a:r>
                <a:r>
                  <a:rPr lang="de-DE" dirty="0" err="1"/>
                  <a:t>used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a </a:t>
                </a:r>
                <a:r>
                  <a:rPr lang="de-DE" dirty="0" err="1"/>
                  <a:t>reference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calculate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b="1" i="1" dirty="0" err="1"/>
                  <a:t>requiredMi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detector</a:t>
                </a:r>
                <a:r>
                  <a:rPr lang="de-DE" dirty="0"/>
                  <a:t> </a:t>
                </a:r>
                <a:r>
                  <a:rPr lang="de-DE" dirty="0" err="1"/>
                  <a:t>module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𝑟𝑒𝑞𝑢𝑖𝑟𝑒𝑑𝑀𝑖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𝑒𝑡𝑒𝑐𝑡𝑜𝑟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𝐶𝑃𝑈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𝑆𝑐𝑜𝑟𝑒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 ∗ 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𝑒𝑥𝑒𝑐𝑢𝑡𝑖𝑜𝑛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𝑖𝑚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𝑠</m:t>
                              </m:r>
                            </m:e>
                          </m:d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000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𝑠</m:t>
                              </m:r>
                            </m:e>
                          </m:d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11,661 ∗ 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063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000</m:t>
                          </m:r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=12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39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m:oMathPara>
                </a14:m>
                <a:endParaRPr lang="de-DE" dirty="0"/>
              </a:p>
              <a:p>
                <a:endParaRPr lang="de-DE" b="1" dirty="0"/>
              </a:p>
              <a:p>
                <a:endParaRPr lang="de-DE" b="1" dirty="0"/>
              </a:p>
              <a:p>
                <a:endParaRPr lang="de-DE" b="1" dirty="0"/>
              </a:p>
              <a:p>
                <a:endParaRPr lang="de-DE" b="1" dirty="0"/>
              </a:p>
              <a:p>
                <a:endParaRPr lang="de-DE" b="1" dirty="0"/>
              </a:p>
              <a:p>
                <a:endParaRPr lang="de-DE" b="1" dirty="0"/>
              </a:p>
              <a:p>
                <a:endParaRPr lang="de-DE" b="1" dirty="0"/>
              </a:p>
              <a:p>
                <a:r>
                  <a:rPr lang="de-DE" dirty="0" err="1"/>
                  <a:t>execution</a:t>
                </a:r>
                <a:r>
                  <a:rPr lang="de-DE" dirty="0"/>
                  <a:t> time </a:t>
                </a:r>
                <a:r>
                  <a:rPr lang="de-DE" b="1" dirty="0"/>
                  <a:t>raspi-02:</a:t>
                </a: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𝑒𝑥𝑒𝑐𝑢𝑡𝑖𝑜𝑛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𝑡𝑖𝑚𝑒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["/>
                          <m:endChr m:val="]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𝑠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𝑟𝑒𝑞𝑢𝑖𝑟𝑒𝑑𝑀𝑖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𝑝𝑢𝑀𝑖𝑝𝑠</m:t>
                          </m:r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 ∗1,000= 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2,396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973</m:t>
                          </m:r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∗1,000=12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7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40 [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𝑚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84B3403A-3DC3-B845-8DFD-7E398B29EDA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417" t="-3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D38720-5F9A-BA43-960A-F2F2B56299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2CD02C-A287-5D45-9040-DB0A72F88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6</a:t>
            </a:fld>
            <a:endParaRPr lang="de-DE" alt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F264429-022F-F949-A980-F511CD1B82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6311" y="1098116"/>
            <a:ext cx="6340025" cy="3757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825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0153B-5E9A-3F4D-AACD-57E244F55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72192-5C3F-AC49-9CF7-FCC345374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de-DE" dirty="0" err="1"/>
              <a:t>Introduction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/>
              <a:t>Fog </a:t>
            </a:r>
            <a:r>
              <a:rPr lang="de-DE" dirty="0" err="1"/>
              <a:t>Architecture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 err="1"/>
              <a:t>Node</a:t>
            </a:r>
            <a:r>
              <a:rPr lang="de-DE" dirty="0"/>
              <a:t>-RED</a:t>
            </a:r>
          </a:p>
          <a:p>
            <a:pPr>
              <a:buFont typeface="+mj-lt"/>
              <a:buAutoNum type="arabicPeriod"/>
            </a:pPr>
            <a:r>
              <a:rPr lang="de-DE" dirty="0"/>
              <a:t>Task Distribution</a:t>
            </a:r>
          </a:p>
          <a:p>
            <a:pPr>
              <a:buFont typeface="+mj-lt"/>
              <a:buAutoNum type="arabicPeriod"/>
            </a:pPr>
            <a:r>
              <a:rPr lang="de-DE" dirty="0" err="1"/>
              <a:t>QoS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 err="1"/>
              <a:t>Orchestrator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valuation</a:t>
            </a:r>
          </a:p>
          <a:p>
            <a:pPr>
              <a:buFont typeface="+mj-lt"/>
              <a:buAutoNum type="arabicPeriod"/>
            </a:pPr>
            <a:r>
              <a:rPr lang="de-DE" b="1" dirty="0"/>
              <a:t>Future Wor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0F3E33-BEA9-5B41-9EAC-0AB1D95E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CC3A18-8132-C847-A7F9-7C6CB5083A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640611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EF7AE5-94D4-3344-B688-9C2C10935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Conclus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Future Wo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AD2E44-89D7-7347-90C1-DB96BC8779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System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ynamically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chang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conditions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transfer</a:t>
            </a:r>
            <a:r>
              <a:rPr lang="de-DE" dirty="0"/>
              <a:t> </a:t>
            </a:r>
            <a:r>
              <a:rPr lang="de-DE" dirty="0" err="1"/>
              <a:t>times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fairly</a:t>
            </a:r>
            <a:r>
              <a:rPr lang="de-DE" dirty="0"/>
              <a:t> </a:t>
            </a:r>
            <a:r>
              <a:rPr lang="de-DE" dirty="0" err="1"/>
              <a:t>accurate</a:t>
            </a:r>
            <a:r>
              <a:rPr lang="de-DE" dirty="0"/>
              <a:t>, </a:t>
            </a:r>
            <a:r>
              <a:rPr lang="de-DE" dirty="0" err="1"/>
              <a:t>execution</a:t>
            </a:r>
            <a:r>
              <a:rPr lang="de-DE" dirty="0"/>
              <a:t> time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mproved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 marL="0" indent="0"/>
            <a:r>
              <a:rPr lang="de-DE" b="1" dirty="0" err="1"/>
              <a:t>Possible</a:t>
            </a:r>
            <a:r>
              <a:rPr lang="de-DE" b="1" dirty="0"/>
              <a:t> </a:t>
            </a:r>
            <a:r>
              <a:rPr lang="de-DE" b="1" dirty="0" err="1"/>
              <a:t>Improvements</a:t>
            </a:r>
            <a:endParaRPr lang="de-D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di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ynamic </a:t>
            </a:r>
            <a:r>
              <a:rPr lang="de-DE" dirty="0" err="1"/>
              <a:t>services</a:t>
            </a:r>
            <a:endParaRPr lang="de-DE" dirty="0"/>
          </a:p>
          <a:p>
            <a:pPr marL="72707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Orchestrator</a:t>
            </a:r>
            <a:r>
              <a:rPr lang="de-DE" dirty="0"/>
              <a:t>: Register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app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dules</a:t>
            </a:r>
            <a:r>
              <a:rPr lang="de-DE" dirty="0"/>
              <a:t> </a:t>
            </a:r>
            <a:r>
              <a:rPr lang="de-DE" dirty="0" err="1"/>
              <a:t>automatically</a:t>
            </a:r>
            <a:endParaRPr lang="de-DE" dirty="0"/>
          </a:p>
          <a:p>
            <a:pPr marL="72707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Subflow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mart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techniqu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09A754-43F3-AA4C-AE5C-9CC4A63A7A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CD4538-4385-894E-B073-6F41BBA70E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4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35225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B0153B-5E9A-3F4D-AACD-57E244F55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372192-5C3F-AC49-9CF7-FCC345374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de-DE" dirty="0" err="1"/>
              <a:t>Introduction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/>
              <a:t>Fog </a:t>
            </a:r>
            <a:r>
              <a:rPr lang="de-DE" dirty="0" err="1"/>
              <a:t>Architecture</a:t>
            </a:r>
            <a:endParaRPr lang="de-DE" dirty="0"/>
          </a:p>
          <a:p>
            <a:pPr lvl="1">
              <a:buFont typeface="+mj-lt"/>
              <a:buAutoNum type="arabicPeriod"/>
            </a:pPr>
            <a:r>
              <a:rPr lang="de-DE" dirty="0" err="1"/>
              <a:t>Node</a:t>
            </a:r>
            <a:r>
              <a:rPr lang="de-DE" dirty="0"/>
              <a:t>-RED</a:t>
            </a:r>
          </a:p>
          <a:p>
            <a:pPr>
              <a:buFont typeface="+mj-lt"/>
              <a:buAutoNum type="arabicPeriod"/>
            </a:pPr>
            <a:r>
              <a:rPr lang="de-DE" b="1" dirty="0"/>
              <a:t>Task Distribution</a:t>
            </a:r>
          </a:p>
          <a:p>
            <a:pPr>
              <a:buFont typeface="+mj-lt"/>
              <a:buAutoNum type="arabicPeriod"/>
            </a:pPr>
            <a:r>
              <a:rPr lang="de-DE" dirty="0" err="1"/>
              <a:t>QoS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 err="1"/>
              <a:t>Orchestrator</a:t>
            </a: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valuation</a:t>
            </a:r>
          </a:p>
          <a:p>
            <a:pPr>
              <a:buFont typeface="+mj-lt"/>
              <a:buAutoNum type="arabicPeriod"/>
            </a:pPr>
            <a:r>
              <a:rPr lang="de-DE" dirty="0"/>
              <a:t>Future Wor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0F3E33-BEA9-5B41-9EAC-0AB1D95E3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CC3A18-8132-C847-A7F9-7C6CB5083A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572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1749F6-796F-1246-8691-606F3AFE9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ask Distribution</a:t>
            </a:r>
          </a:p>
        </p:txBody>
      </p:sp>
      <p:pic>
        <p:nvPicPr>
          <p:cNvPr id="7" name="Inhaltsplatzhalter 6" descr="Ein Bild, das Screenshot, Gerät enthält.&#10;&#10;Automatisch generierte Beschreibung">
            <a:extLst>
              <a:ext uri="{FF2B5EF4-FFF2-40B4-BE49-F238E27FC236}">
                <a16:creationId xmlns:a16="http://schemas.microsoft.com/office/drawing/2014/main" id="{E49C218A-EA7C-194A-807E-DDE99E9BED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327" y="3809911"/>
            <a:ext cx="6228169" cy="1531209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00220-CA66-4E41-913B-42B066585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B42484-7152-B544-9548-71F7B7911B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43769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1749F6-796F-1246-8691-606F3AFE9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ask Distribu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00220-CA66-4E41-913B-42B066585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B42484-7152-B544-9548-71F7B7911B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8" name="Inhaltsplatzhalter 7" descr="Ein Bild, das Gerät enthält.&#10;&#10;Automatisch generierte Beschreibung">
            <a:extLst>
              <a:ext uri="{FF2B5EF4-FFF2-40B4-BE49-F238E27FC236}">
                <a16:creationId xmlns:a16="http://schemas.microsoft.com/office/drawing/2014/main" id="{482C068C-2557-5949-8F3E-639C0CA320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3884" y="2810746"/>
            <a:ext cx="6213055" cy="2548945"/>
          </a:xfrm>
        </p:spPr>
      </p:pic>
    </p:spTree>
    <p:extLst>
      <p:ext uri="{BB962C8B-B14F-4D97-AF65-F5344CB8AC3E}">
        <p14:creationId xmlns:p14="http://schemas.microsoft.com/office/powerpoint/2010/main" val="110653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8F93F1-45FC-9D42-889F-E40AEAF55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ask Distribution - DNR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759367C3-AE4E-D341-A4EC-CB8F110786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39749" y="2284413"/>
            <a:ext cx="8061325" cy="754156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76B4EF1-45DF-0848-A4C7-1AEF742936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B360F03-8476-3041-9210-43C0CC6B57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8</a:t>
            </a:fld>
            <a:endParaRPr lang="de-DE" alt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46217DE-9C5A-FC4A-8955-72D8B572B402}"/>
              </a:ext>
            </a:extLst>
          </p:cNvPr>
          <p:cNvSpPr txBox="1"/>
          <p:nvPr/>
        </p:nvSpPr>
        <p:spPr>
          <a:xfrm>
            <a:off x="539749" y="3166782"/>
            <a:ext cx="78982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b="1" dirty="0"/>
              <a:t>Advantages</a:t>
            </a:r>
          </a:p>
          <a:p>
            <a:pPr marL="171450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0000"/>
                </a:solidFill>
                <a:latin typeface="+mn-lt"/>
              </a:rPr>
              <a:t>Easy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to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use</a:t>
            </a:r>
            <a:endParaRPr lang="de-DE" sz="1400" dirty="0">
              <a:solidFill>
                <a:srgbClr val="000000"/>
              </a:solidFill>
              <a:latin typeface="+mn-lt"/>
            </a:endParaRPr>
          </a:p>
          <a:p>
            <a:pPr marL="1714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0000"/>
                </a:solidFill>
                <a:latin typeface="+mn-lt"/>
              </a:rPr>
              <a:t>Flows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can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be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changed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/>
              <a:t>during</a:t>
            </a:r>
            <a:r>
              <a:rPr lang="de-DE" sz="1400" dirty="0"/>
              <a:t> </a:t>
            </a:r>
            <a:r>
              <a:rPr lang="de-DE" sz="1400" dirty="0" err="1"/>
              <a:t>runtime</a:t>
            </a:r>
            <a:r>
              <a:rPr lang="de-DE" sz="1400" dirty="0"/>
              <a:t>, DNR </a:t>
            </a:r>
            <a:r>
              <a:rPr lang="de-DE" sz="1400" dirty="0" err="1"/>
              <a:t>updates</a:t>
            </a:r>
            <a:r>
              <a:rPr lang="de-DE" sz="1400" dirty="0"/>
              <a:t> </a:t>
            </a:r>
            <a:r>
              <a:rPr lang="de-DE" sz="1400" dirty="0" err="1"/>
              <a:t>distributed</a:t>
            </a:r>
            <a:r>
              <a:rPr lang="de-DE" sz="1400" dirty="0"/>
              <a:t> </a:t>
            </a:r>
            <a:r>
              <a:rPr lang="de-DE" sz="1400" dirty="0" err="1"/>
              <a:t>flows</a:t>
            </a:r>
            <a:r>
              <a:rPr lang="de-DE" sz="1400" dirty="0"/>
              <a:t> </a:t>
            </a:r>
            <a:r>
              <a:rPr lang="de-DE" sz="1400" dirty="0" err="1"/>
              <a:t>automatically</a:t>
            </a:r>
            <a:endParaRPr lang="de-DE" sz="1400" dirty="0"/>
          </a:p>
          <a:p>
            <a:pPr algn="l"/>
            <a:endParaRPr lang="de-DE" sz="1400" b="1" dirty="0"/>
          </a:p>
          <a:p>
            <a:pPr algn="l"/>
            <a:r>
              <a:rPr lang="de-DE" sz="1400" b="1" dirty="0" err="1"/>
              <a:t>Disadvantages</a:t>
            </a:r>
            <a:endParaRPr lang="de-DE" sz="1400" b="1" dirty="0"/>
          </a:p>
          <a:p>
            <a:pPr marL="171450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0000"/>
                </a:solidFill>
                <a:latin typeface="+mn-lt"/>
              </a:rPr>
              <a:t>Not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stable</a:t>
            </a:r>
            <a:endParaRPr lang="de-DE" sz="1400" dirty="0">
              <a:solidFill>
                <a:srgbClr val="000000"/>
              </a:solidFill>
              <a:latin typeface="+mn-lt"/>
            </a:endParaRPr>
          </a:p>
          <a:p>
            <a:pPr marL="1714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0000"/>
                </a:solidFill>
                <a:latin typeface="+mn-lt"/>
              </a:rPr>
              <a:t>Suitable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for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„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small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“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data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crashes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if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„large“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files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are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transferred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between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nodes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(e.g.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image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)</a:t>
            </a:r>
          </a:p>
          <a:p>
            <a:pPr marL="1714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0000"/>
                </a:solidFill>
                <a:latin typeface="+mn-lt"/>
              </a:rPr>
              <a:t>Based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on an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older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version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of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Node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-RED</a:t>
            </a:r>
          </a:p>
          <a:p>
            <a:pPr marL="171450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0000"/>
                </a:solidFill>
                <a:latin typeface="+mn-lt"/>
              </a:rPr>
              <a:t>Not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actively</a:t>
            </a:r>
            <a:r>
              <a:rPr lang="de-DE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+mn-lt"/>
              </a:rPr>
              <a:t>developed</a:t>
            </a:r>
            <a:endParaRPr lang="de-DE" sz="1400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4709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5F38FB-23C4-CF41-853A-A2BEBEEDA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ask Distribution - </a:t>
            </a:r>
            <a:r>
              <a:rPr lang="de-DE" dirty="0" err="1"/>
              <a:t>without</a:t>
            </a:r>
            <a:r>
              <a:rPr lang="de-DE" dirty="0"/>
              <a:t> DN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18DC9F-4534-A44E-9189-78AB22767D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2349500"/>
            <a:ext cx="8061325" cy="394817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Communication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instance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naged</a:t>
            </a:r>
            <a:r>
              <a:rPr lang="de-DE" dirty="0"/>
              <a:t> via </a:t>
            </a:r>
            <a:r>
              <a:rPr lang="de-DE" dirty="0" err="1"/>
              <a:t>the</a:t>
            </a:r>
            <a:r>
              <a:rPr lang="de-DE" dirty="0"/>
              <a:t> HTTP </a:t>
            </a:r>
            <a:r>
              <a:rPr lang="de-DE" dirty="0" err="1"/>
              <a:t>nodes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 marL="0" indent="0"/>
            <a:endParaRPr lang="de-DE" dirty="0"/>
          </a:p>
          <a:p>
            <a:pPr marL="0" indent="0"/>
            <a:r>
              <a:rPr lang="de-DE" b="1" dirty="0"/>
              <a:t>Advantag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No</a:t>
            </a:r>
            <a:r>
              <a:rPr lang="de-DE" dirty="0"/>
              <a:t> additional </a:t>
            </a:r>
            <a:r>
              <a:rPr lang="de-DE" dirty="0" err="1"/>
              <a:t>Node</a:t>
            </a:r>
            <a:r>
              <a:rPr lang="de-DE" dirty="0"/>
              <a:t>-RED </a:t>
            </a:r>
            <a:r>
              <a:rPr lang="de-DE" dirty="0" err="1"/>
              <a:t>modules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  <a:p>
            <a:pPr marL="727075" lvl="1" indent="-285750">
              <a:buFont typeface="Arial" panose="020B0604020202020204" pitchFamily="34" charset="0"/>
              <a:buChar char="•"/>
            </a:pPr>
            <a:r>
              <a:rPr lang="de-DE" dirty="0"/>
              <a:t>HTTP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re</a:t>
            </a:r>
            <a:r>
              <a:rPr lang="de-DE" dirty="0"/>
              <a:t> </a:t>
            </a:r>
            <a:r>
              <a:rPr lang="de-DE" dirty="0" err="1"/>
              <a:t>package</a:t>
            </a:r>
            <a:endParaRPr lang="de-DE" dirty="0"/>
          </a:p>
          <a:p>
            <a:pPr marL="727075" lvl="1" indent="-285750">
              <a:buFont typeface="Arial" panose="020B0604020202020204" pitchFamily="34" charset="0"/>
              <a:buChar char="•"/>
            </a:pPr>
            <a:r>
              <a:rPr lang="de-DE" dirty="0" err="1">
                <a:sym typeface="Wingdings" pitchFamily="2" charset="2"/>
              </a:rPr>
              <a:t>Abl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o</a:t>
            </a:r>
            <a:r>
              <a:rPr lang="de-DE" dirty="0">
                <a:sym typeface="Wingdings" pitchFamily="2" charset="2"/>
              </a:rPr>
              <a:t> send „large“ </a:t>
            </a:r>
            <a:r>
              <a:rPr lang="de-DE" dirty="0" err="1">
                <a:sym typeface="Wingdings" pitchFamily="2" charset="2"/>
              </a:rPr>
              <a:t>data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withou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rashes</a:t>
            </a:r>
            <a:endParaRPr lang="de-DE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itchFamily="2" charset="2"/>
              </a:rPr>
              <a:t>Works </a:t>
            </a:r>
            <a:r>
              <a:rPr lang="de-DE" dirty="0" err="1">
                <a:sym typeface="Wingdings" pitchFamily="2" charset="2"/>
              </a:rPr>
              <a:t>with</a:t>
            </a:r>
            <a:r>
              <a:rPr lang="de-DE" dirty="0">
                <a:sym typeface="Wingdings" pitchFamily="2" charset="2"/>
              </a:rPr>
              <a:t> all </a:t>
            </a:r>
            <a:r>
              <a:rPr lang="de-DE" dirty="0" err="1">
                <a:sym typeface="Wingdings" pitchFamily="2" charset="2"/>
              </a:rPr>
              <a:t>Node</a:t>
            </a:r>
            <a:r>
              <a:rPr lang="de-DE" dirty="0">
                <a:sym typeface="Wingdings" pitchFamily="2" charset="2"/>
              </a:rPr>
              <a:t>-RED </a:t>
            </a:r>
            <a:r>
              <a:rPr lang="de-DE" dirty="0" err="1">
                <a:sym typeface="Wingdings" pitchFamily="2" charset="2"/>
              </a:rPr>
              <a:t>versions</a:t>
            </a:r>
            <a:endParaRPr lang="de-DE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800" b="1" dirty="0">
              <a:sym typeface="Wingdings" pitchFamily="2" charset="2"/>
            </a:endParaRPr>
          </a:p>
          <a:p>
            <a:pPr marL="0" indent="0"/>
            <a:r>
              <a:rPr lang="de-DE" b="1" dirty="0" err="1">
                <a:sym typeface="Wingdings" pitchFamily="2" charset="2"/>
              </a:rPr>
              <a:t>Disadvantages</a:t>
            </a:r>
            <a:endParaRPr lang="de-DE" b="1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ndpoi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ceiving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nserted</a:t>
            </a:r>
            <a:r>
              <a:rPr lang="de-DE" dirty="0"/>
              <a:t> </a:t>
            </a:r>
            <a:r>
              <a:rPr lang="de-DE" dirty="0" err="1"/>
              <a:t>manually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 </a:t>
            </a:r>
            <a:r>
              <a:rPr lang="de-DE" dirty="0" err="1">
                <a:sym typeface="Wingdings" pitchFamily="2" charset="2"/>
              </a:rPr>
              <a:t>Unconvenien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o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use</a:t>
            </a:r>
            <a:endParaRPr lang="de-DE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ym typeface="Wingdings" pitchFamily="2" charset="2"/>
              </a:rPr>
              <a:t>Flows</a:t>
            </a:r>
            <a:r>
              <a:rPr lang="de-DE" dirty="0">
                <a:sym typeface="Wingdings" pitchFamily="2" charset="2"/>
              </a:rPr>
              <a:t> must </a:t>
            </a:r>
            <a:r>
              <a:rPr lang="de-DE" dirty="0" err="1">
                <a:sym typeface="Wingdings" pitchFamily="2" charset="2"/>
              </a:rPr>
              <a:t>b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manuall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exporte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an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importe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if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he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shoul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b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executed</a:t>
            </a:r>
            <a:r>
              <a:rPr lang="de-DE" dirty="0">
                <a:sym typeface="Wingdings" pitchFamily="2" charset="2"/>
              </a:rPr>
              <a:t> on </a:t>
            </a:r>
            <a:r>
              <a:rPr lang="de-DE" dirty="0" err="1">
                <a:sym typeface="Wingdings" pitchFamily="2" charset="2"/>
              </a:rPr>
              <a:t>another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node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D81E37-1F8B-4F4C-8696-81527F6B72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Daniel Sebastian Li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11E98-0325-B04C-933E-0C23EDB101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Page </a:t>
            </a:r>
            <a:fld id="{8853E7DA-ACDA-4D60-8E16-1D0FC7617899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79AEB2F-5BBC-C642-8539-197DC8F8F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632" y="2715103"/>
            <a:ext cx="4714780" cy="43087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E21A151-3C3B-F247-9112-79E9BBC518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1632" y="3218882"/>
            <a:ext cx="4281643" cy="420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05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P7.I8o0mRTE2M3SO9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18</Words>
  <Application>Microsoft Macintosh PowerPoint</Application>
  <PresentationFormat>Bildschirmpräsentation (4:3)</PresentationFormat>
  <Paragraphs>623</Paragraphs>
  <Slides>48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54" baseType="lpstr">
      <vt:lpstr>Arial</vt:lpstr>
      <vt:lpstr>Cambria Math</vt:lpstr>
      <vt:lpstr>Courier New</vt:lpstr>
      <vt:lpstr>Wingdings</vt:lpstr>
      <vt:lpstr>Technische Universität Berlin | PowerPoint Master</vt:lpstr>
      <vt:lpstr>TCLayout.ActiveDocument.1</vt:lpstr>
      <vt:lpstr>Enabling QoS-Aware Task Execution on Distributed  Node-RED Clusters for Fog Computing Environments</vt:lpstr>
      <vt:lpstr>Agenda</vt:lpstr>
      <vt:lpstr>Introduction - Fog Architecture</vt:lpstr>
      <vt:lpstr>Introduction - Node-RED Flow-Editor</vt:lpstr>
      <vt:lpstr>Agenda</vt:lpstr>
      <vt:lpstr>Task Distribution</vt:lpstr>
      <vt:lpstr>Task Distribution</vt:lpstr>
      <vt:lpstr>Task Distribution - DNR</vt:lpstr>
      <vt:lpstr>Task Distribution - without DNR</vt:lpstr>
      <vt:lpstr>Agenda</vt:lpstr>
      <vt:lpstr>QoS-Aware Scheduling Algorithm</vt:lpstr>
      <vt:lpstr>QoS-Aware Scheduling Algorithm - Example</vt:lpstr>
      <vt:lpstr>Deployment Strategy Candidates</vt:lpstr>
      <vt:lpstr>Hardware Requirements</vt:lpstr>
      <vt:lpstr>Hardware Requirements</vt:lpstr>
      <vt:lpstr>Hardware Requirements</vt:lpstr>
      <vt:lpstr>Hardware Requirements</vt:lpstr>
      <vt:lpstr>Valid Hardware Requirements</vt:lpstr>
      <vt:lpstr>Validating Latency Requirements</vt:lpstr>
      <vt:lpstr>Latency Requirements</vt:lpstr>
      <vt:lpstr>Latency Requirements</vt:lpstr>
      <vt:lpstr>Optimal Deployment Strategy</vt:lpstr>
      <vt:lpstr>Agenda</vt:lpstr>
      <vt:lpstr>Orchestrator - Architecture</vt:lpstr>
      <vt:lpstr>Orchestrator - Architecture</vt:lpstr>
      <vt:lpstr>Orchestrator - Architecture</vt:lpstr>
      <vt:lpstr>Orchestrator - Architecture</vt:lpstr>
      <vt:lpstr>Orchestrator - Architecture</vt:lpstr>
      <vt:lpstr>Orchestrator - Architecture</vt:lpstr>
      <vt:lpstr>Orchestrator - Architecture</vt:lpstr>
      <vt:lpstr>Orchestrator - Architecture</vt:lpstr>
      <vt:lpstr>Orchestrator - Architecture</vt:lpstr>
      <vt:lpstr>Orchestrator - Architecture</vt:lpstr>
      <vt:lpstr>Node-RED Contoller</vt:lpstr>
      <vt:lpstr>Monitoring the Current Deployment Strategy</vt:lpstr>
      <vt:lpstr>Agenda</vt:lpstr>
      <vt:lpstr>Use-Case: Object Detection Application</vt:lpstr>
      <vt:lpstr>PowerPoint-Präsentation</vt:lpstr>
      <vt:lpstr>Evaluation - Object Detection Web Application</vt:lpstr>
      <vt:lpstr>Evaluation - Infrastructure</vt:lpstr>
      <vt:lpstr>Evaluation - Possible Deployment Strategies</vt:lpstr>
      <vt:lpstr>Evaluation - Possible Deployment Strategies</vt:lpstr>
      <vt:lpstr>Evaluation - Experiment 1</vt:lpstr>
      <vt:lpstr>Evaluation - Experiment 2</vt:lpstr>
      <vt:lpstr>CPU Benchmarking</vt:lpstr>
      <vt:lpstr>Investigation of the wrong decision</vt:lpstr>
      <vt:lpstr>Agenda</vt:lpstr>
      <vt:lpstr>Conclusion and Future Wor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chelorarbeit - Ein Framework für die Simulation von Ausfällen von IoT-Sensoren</dc:title>
  <dc:creator>antonio.schuerer@gmail.com</dc:creator>
  <cp:lastModifiedBy>Sebastian Lienau</cp:lastModifiedBy>
  <cp:revision>360</cp:revision>
  <dcterms:created xsi:type="dcterms:W3CDTF">2017-01-19T07:01:42Z</dcterms:created>
  <dcterms:modified xsi:type="dcterms:W3CDTF">2019-11-20T15:26:24Z</dcterms:modified>
</cp:coreProperties>
</file>